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62" r:id="rId2"/>
    <p:sldId id="277" r:id="rId3"/>
    <p:sldId id="266" r:id="rId4"/>
    <p:sldId id="286" r:id="rId5"/>
    <p:sldId id="292" r:id="rId6"/>
    <p:sldId id="278" r:id="rId7"/>
    <p:sldId id="287" r:id="rId8"/>
    <p:sldId id="308" r:id="rId9"/>
    <p:sldId id="279" r:id="rId10"/>
    <p:sldId id="295" r:id="rId11"/>
    <p:sldId id="296" r:id="rId12"/>
    <p:sldId id="309" r:id="rId13"/>
    <p:sldId id="280" r:id="rId14"/>
    <p:sldId id="294" r:id="rId15"/>
    <p:sldId id="297" r:id="rId16"/>
    <p:sldId id="299" r:id="rId17"/>
    <p:sldId id="281" r:id="rId18"/>
    <p:sldId id="310" r:id="rId19"/>
    <p:sldId id="300" r:id="rId20"/>
    <p:sldId id="302" r:id="rId21"/>
    <p:sldId id="288" r:id="rId22"/>
    <p:sldId id="311" r:id="rId23"/>
    <p:sldId id="290" r:id="rId24"/>
    <p:sldId id="317" r:id="rId25"/>
    <p:sldId id="318" r:id="rId26"/>
    <p:sldId id="303" r:id="rId27"/>
    <p:sldId id="304" r:id="rId28"/>
    <p:sldId id="319" r:id="rId29"/>
    <p:sldId id="306" r:id="rId30"/>
    <p:sldId id="312" r:id="rId31"/>
    <p:sldId id="283" r:id="rId32"/>
    <p:sldId id="314" r:id="rId33"/>
    <p:sldId id="313" r:id="rId34"/>
    <p:sldId id="315" r:id="rId35"/>
    <p:sldId id="285" r:id="rId36"/>
    <p:sldId id="316" r:id="rId37"/>
    <p:sldId id="289" r:id="rId38"/>
    <p:sldId id="293" r:id="rId39"/>
    <p:sldId id="307" r:id="rId40"/>
    <p:sldId id="305" r:id="rId41"/>
    <p:sldId id="276" r:id="rId42"/>
    <p:sldId id="301" r:id="rId43"/>
  </p:sldIdLst>
  <p:sldSz cx="12192000" cy="6858000"/>
  <p:notesSz cx="9928225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3BB56C-A365-4C33-BE9F-B97F8FCFC4E6}">
          <p14:sldIdLst>
            <p14:sldId id="262"/>
            <p14:sldId id="277"/>
            <p14:sldId id="266"/>
            <p14:sldId id="286"/>
            <p14:sldId id="292"/>
            <p14:sldId id="278"/>
            <p14:sldId id="287"/>
            <p14:sldId id="308"/>
            <p14:sldId id="279"/>
            <p14:sldId id="295"/>
            <p14:sldId id="296"/>
            <p14:sldId id="309"/>
            <p14:sldId id="280"/>
            <p14:sldId id="294"/>
            <p14:sldId id="297"/>
            <p14:sldId id="299"/>
            <p14:sldId id="281"/>
            <p14:sldId id="310"/>
            <p14:sldId id="300"/>
            <p14:sldId id="302"/>
            <p14:sldId id="288"/>
            <p14:sldId id="311"/>
            <p14:sldId id="290"/>
            <p14:sldId id="317"/>
            <p14:sldId id="318"/>
            <p14:sldId id="303"/>
            <p14:sldId id="304"/>
            <p14:sldId id="319"/>
            <p14:sldId id="306"/>
            <p14:sldId id="312"/>
            <p14:sldId id="283"/>
            <p14:sldId id="314"/>
            <p14:sldId id="313"/>
            <p14:sldId id="315"/>
            <p14:sldId id="285"/>
            <p14:sldId id="316"/>
            <p14:sldId id="289"/>
            <p14:sldId id="293"/>
            <p14:sldId id="307"/>
            <p14:sldId id="305"/>
            <p14:sldId id="276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nnart Luttkus" initials="LL" lastIdx="6" clrIdx="0">
    <p:extLst>
      <p:ext uri="{19B8F6BF-5375-455C-9EA6-DF929625EA0E}">
        <p15:presenceInfo xmlns:p15="http://schemas.microsoft.com/office/powerpoint/2012/main" userId="S-1-5-21-2039564787-70145697-1858953157-2371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3" autoAdjust="0"/>
    <p:restoredTop sz="82994" autoAdjust="0"/>
  </p:normalViewPr>
  <p:slideViewPr>
    <p:cSldViewPr snapToGrid="0">
      <p:cViewPr>
        <p:scale>
          <a:sx n="125" d="100"/>
          <a:sy n="125" d="100"/>
        </p:scale>
        <p:origin x="828" y="34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4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594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4CEC18-267D-4F6C-8EDF-FC98C8A5F6C1}" type="datetimeFigureOut">
              <a:rPr lang="de-DE" smtClean="0"/>
              <a:t>10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594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938E9-F75D-4170-9A48-D015DFD54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126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3-18T15:36:11.3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0 41 8704,'-24'-7'3328,"19"3"-2592,10 1-128,-5 3-256,9-5-576,-1 2-160,-1-5-672,2 5-256,-4-4-20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EFC45-C6CF-4BCA-9D00-F5A9882611DC}" type="datetimeFigureOut">
              <a:rPr lang="de-DE" smtClean="0"/>
              <a:t>10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F6079-E8BF-4C55-998F-E00A0BE496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8368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050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134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Verkehrsvernetzung (englisch </a:t>
            </a:r>
            <a:r>
              <a:rPr lang="de-DE" dirty="0" err="1" smtClean="0"/>
              <a:t>Vehicle-to-everything</a:t>
            </a:r>
            <a:r>
              <a:rPr lang="de-DE" dirty="0" smtClean="0"/>
              <a:t>; </a:t>
            </a:r>
            <a:r>
              <a:rPr lang="de-DE" b="1" dirty="0" smtClean="0"/>
              <a:t>V2X</a:t>
            </a:r>
            <a:r>
              <a:rPr lang="de-DE" dirty="0" smtClean="0"/>
              <a:t>) ist die elektronische Kommunikation der Teilnehmer an Verkehr untereinander in den Formen Fahrzeug-zu-Fahrzeug (V2V), Fahrzeug-zu-Straße (V2R), Fahrzeug-zu-Infrastruktur (V2I), Fahrzeug-zu-Netzwerk (V2N) und Fahrzeug-zu-Personen (V2P)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24296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8403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</a:t>
            </a:r>
          </a:p>
          <a:p>
            <a:r>
              <a:rPr lang="de-DE" dirty="0" smtClean="0"/>
              <a:t>Ampeln:</a:t>
            </a:r>
            <a:r>
              <a:rPr lang="de-DE" baseline="0" dirty="0" smtClean="0"/>
              <a:t> manuelle Freigabe</a:t>
            </a:r>
          </a:p>
          <a:p>
            <a:r>
              <a:rPr lang="de-DE" baseline="0" dirty="0" smtClean="0"/>
              <a:t>Vermeidung von Fußgängern möglich, Karte robust gegenüber kleinen Hindernissen</a:t>
            </a:r>
          </a:p>
          <a:p>
            <a:endParaRPr lang="de-DE" baseline="0" dirty="0" smtClean="0"/>
          </a:p>
          <a:p>
            <a:r>
              <a:rPr lang="de-DE" baseline="0" dirty="0" smtClean="0"/>
              <a:t>2</a:t>
            </a:r>
          </a:p>
          <a:p>
            <a:r>
              <a:rPr lang="de-DE" dirty="0" smtClean="0"/>
              <a:t>Navigation (4x2.2GHz), Vision Processing (4x2.2GHz) und Antriebsansteuerung (PowerPC)</a:t>
            </a:r>
          </a:p>
          <a:p>
            <a:endParaRPr lang="de-DE" baseline="0" dirty="0" smtClean="0"/>
          </a:p>
          <a:p>
            <a:r>
              <a:rPr lang="de-DE" baseline="0" dirty="0" smtClean="0"/>
              <a:t>3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229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776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5217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rmatik.uni-augsburg.de/lehrstuehle/imech/Team/" TargetMode="External"/><Relationship Id="rId2" Type="http://schemas.openxmlformats.org/officeDocument/2006/relationships/hyperlink" Target="mailto:lennart.luttkus@informatik.uni-augsburg.de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/>
          </p:nvPr>
        </p:nvSpPr>
        <p:spPr>
          <a:xfrm>
            <a:off x="341745" y="1251641"/>
            <a:ext cx="11491479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0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31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598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Formatvorlagen des Textmasters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375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>
          <a:xfrm>
            <a:off x="341745" y="1223941"/>
            <a:ext cx="11491479" cy="7017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4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Veranstaltung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 hasCustomPrompt="1"/>
          </p:nvPr>
        </p:nvSpPr>
        <p:spPr>
          <a:xfrm>
            <a:off x="341745" y="5071532"/>
            <a:ext cx="11491480" cy="9144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3pPr marL="914400" indent="0">
              <a:buNone/>
              <a:defRPr/>
            </a:lvl3pPr>
          </a:lstStyle>
          <a:p>
            <a:pPr lvl="0"/>
            <a:r>
              <a:rPr lang="de-DE" dirty="0"/>
              <a:t>Name</a:t>
            </a:r>
            <a:br>
              <a:rPr lang="de-DE" dirty="0"/>
            </a:br>
            <a:r>
              <a:rPr lang="de-DE" dirty="0">
                <a:hlinkClick r:id="rId2"/>
              </a:rPr>
              <a:t>@informatik.uni-augsburg.de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hlinkClick r:id="rId3"/>
              </a:rPr>
              <a:t>https://www.informatik.uni-augsburg.de/lehrstuehle/imech/Team/</a:t>
            </a:r>
            <a:r>
              <a:rPr lang="de-DE" dirty="0"/>
              <a:t> </a:t>
            </a:r>
          </a:p>
          <a:p>
            <a:pPr lvl="0"/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745" y="2776538"/>
            <a:ext cx="11491479" cy="855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8058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846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514350" indent="-514350">
              <a:buClr>
                <a:schemeClr val="tx2"/>
              </a:buClr>
              <a:buFont typeface="+mj-lt"/>
              <a:buAutoNum type="arabicParenR"/>
              <a:defRPr/>
            </a:lvl1pPr>
            <a:lvl2pPr marL="914400" indent="-457200">
              <a:buClr>
                <a:schemeClr val="tx2"/>
              </a:buClr>
              <a:buFont typeface="+mj-lt"/>
              <a:buAutoNum type="arabicParenR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834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185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4751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5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878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188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172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 txBox="1">
            <a:spLocks/>
          </p:cNvSpPr>
          <p:nvPr userDrawn="1"/>
        </p:nvSpPr>
        <p:spPr>
          <a:xfrm>
            <a:off x="1447026" y="6314187"/>
            <a:ext cx="864096" cy="223138"/>
          </a:xfrm>
          <a:prstGeom prst="rect">
            <a:avLst/>
          </a:prstGeom>
        </p:spPr>
        <p:txBody>
          <a:bodyPr vert="horz" lIns="68580" tIns="34290" rIns="68580" bIns="34290" rtlCol="0" anchor="t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fld id="{390F261E-0480-4BDA-A5D1-F92490C5A980}" type="datetime1">
              <a:rPr lang="de-DE" sz="10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10.07.2019</a:t>
            </a:fld>
            <a:endParaRPr lang="de-DE" sz="7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1447026" y="6535894"/>
            <a:ext cx="2044854" cy="22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</a:t>
            </a:r>
            <a:r>
              <a:rPr lang="de-DE" altLang="de-DE" sz="10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2019, </a:t>
            </a: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hrstuhl für Mechatronik</a:t>
            </a:r>
          </a:p>
        </p:txBody>
      </p:sp>
      <p:cxnSp>
        <p:nvCxnSpPr>
          <p:cNvPr id="9" name="Gerade Verbindung 3"/>
          <p:cNvCxnSpPr/>
          <p:nvPr userDrawn="1"/>
        </p:nvCxnSpPr>
        <p:spPr bwMode="auto">
          <a:xfrm>
            <a:off x="360000" y="6134569"/>
            <a:ext cx="1149025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Picture 14" descr="Uni_Aug_Siegel_32Grad_schwarz_cu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6168533"/>
            <a:ext cx="825770" cy="68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1" t="4275" r="8492" b="54763"/>
          <a:stretch/>
        </p:blipFill>
        <p:spPr>
          <a:xfrm>
            <a:off x="10058964" y="6294310"/>
            <a:ext cx="1707906" cy="432000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5651917" y="6528443"/>
            <a:ext cx="10896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292861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62" r:id="rId4"/>
    <p:sldLayoutId id="2147483660" r:id="rId5"/>
    <p:sldLayoutId id="2147483657" r:id="rId6"/>
    <p:sldLayoutId id="2147483654" r:id="rId7"/>
    <p:sldLayoutId id="2147483661" r:id="rId8"/>
    <p:sldLayoutId id="2147483658" r:id="rId9"/>
    <p:sldLayoutId id="2147483655" r:id="rId10"/>
    <p:sldLayoutId id="214748366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6.jpe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2.jpeg"/><Relationship Id="rId4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ifcom.de/microsoft-xbox-one-controller-inkl-wireless-adapter-id6996" TargetMode="External"/><Relationship Id="rId3" Type="http://schemas.openxmlformats.org/officeDocument/2006/relationships/hyperlink" Target="https://www.mytoys.de/e-balance-hoverboard-robway-w1-65-zoll-mit-app-funktion-weiss-8346256.html" TargetMode="External"/><Relationship Id="rId7" Type="http://schemas.openxmlformats.org/officeDocument/2006/relationships/hyperlink" Target="https://www.dhgate.com/product/dual-axis-xy-joystick-module-ps2-joystick/396788269.html" TargetMode="External"/><Relationship Id="rId2" Type="http://schemas.openxmlformats.org/officeDocument/2006/relationships/hyperlink" Target="https://www.cyberport.de/haushalt/bodenpflege-reiniger/roborock/pdp/ha26-001/roborock-s5-sweep-one-staubsauger-roboter-weiss.html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shop.segway.com/de-de/92/-segway-loomo" TargetMode="External"/><Relationship Id="rId11" Type="http://schemas.openxmlformats.org/officeDocument/2006/relationships/hyperlink" Target="https://www.sparkfun.com/products/13762" TargetMode="External"/><Relationship Id="rId5" Type="http://schemas.openxmlformats.org/officeDocument/2006/relationships/hyperlink" Target="http://www.loomo.com/en/spec.html" TargetMode="External"/><Relationship Id="rId10" Type="http://schemas.openxmlformats.org/officeDocument/2006/relationships/hyperlink" Target="https://www.robotshop.com/de/de/rplidar-a1m8-360-grad-laserscanner-entwicklungskit.html" TargetMode="External"/><Relationship Id="rId4" Type="http://schemas.openxmlformats.org/officeDocument/2006/relationships/hyperlink" Target="https://www.raspberrypi.org/products/raspberry-pi-3-model-b/" TargetMode="External"/><Relationship Id="rId9" Type="http://schemas.openxmlformats.org/officeDocument/2006/relationships/hyperlink" Target="https://platis.solutions/blog/2017/08/27/sonicdisc-360-ultrasonic-scanner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Scoomatic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341745" y="5168811"/>
            <a:ext cx="11491480" cy="842884"/>
          </a:xfrm>
        </p:spPr>
        <p:txBody>
          <a:bodyPr/>
          <a:lstStyle/>
          <a:p>
            <a:r>
              <a:rPr lang="de-DE" dirty="0" smtClean="0"/>
              <a:t>Martin </a:t>
            </a:r>
            <a:r>
              <a:rPr lang="de-DE" dirty="0" err="1" smtClean="0"/>
              <a:t>Schörner</a:t>
            </a:r>
            <a:r>
              <a:rPr lang="de-DE" dirty="0" smtClean="0"/>
              <a:t>, 1321330</a:t>
            </a:r>
          </a:p>
          <a:p>
            <a:r>
              <a:rPr lang="de-DE" dirty="0" smtClean="0"/>
              <a:t>Betreuer: Lennart </a:t>
            </a:r>
            <a:r>
              <a:rPr lang="de-DE" dirty="0"/>
              <a:t>Luttkus</a:t>
            </a:r>
            <a:br>
              <a:rPr lang="de-DE" dirty="0"/>
            </a:b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2800" dirty="0" smtClean="0"/>
              <a:t>Abschlusspräsentation Projektmodul und Seminar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14:cNvPr>
              <p14:cNvContentPartPr/>
              <p14:nvPr/>
            </p14:nvContentPartPr>
            <p14:xfrm>
              <a:off x="12055916" y="4851906"/>
              <a:ext cx="15840" cy="147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047276" y="4843266"/>
                <a:ext cx="33480" cy="32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405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2400" dirty="0"/>
              <a:t>-Apoll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Quelloffenes Framework von </a:t>
            </a:r>
            <a:r>
              <a:rPr lang="de-DE" sz="2400" dirty="0" err="1"/>
              <a:t>Baidu</a:t>
            </a:r>
            <a:endParaRPr lang="de-DE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Navigation im Urbanen Umfel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2019 erste Versuche mit Massenproduktionsreifen Fahrzeu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is 2021: Serienreif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asiert auf angepasstem ROS1 Indig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Sehr umfangreiche 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Modularer Aufbau</a:t>
            </a:r>
            <a:endParaRPr lang="de-DE" sz="24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98" b="8974"/>
          <a:stretch/>
        </p:blipFill>
        <p:spPr>
          <a:xfrm>
            <a:off x="1066800" y="4572000"/>
            <a:ext cx="100584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41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dirty="0"/>
              <a:t>-apex.ai (</a:t>
            </a:r>
            <a:r>
              <a:rPr lang="de-DE" dirty="0" err="1"/>
              <a:t>Apex.OS</a:t>
            </a:r>
            <a:r>
              <a:rPr lang="de-DE" dirty="0"/>
              <a:t>, </a:t>
            </a:r>
            <a:r>
              <a:rPr lang="de-DE" dirty="0" err="1"/>
              <a:t>Apex.Autonomy</a:t>
            </a:r>
            <a:endParaRPr lang="de-DE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Apex.OS</a:t>
            </a:r>
            <a:r>
              <a:rPr lang="en-US" dirty="0"/>
              <a:t> is a safe, secure and reliable software communication layer for self driving applications</a:t>
            </a:r>
          </a:p>
          <a:p>
            <a:r>
              <a:rPr lang="en-US" dirty="0"/>
              <a:t>	- Juan </a:t>
            </a:r>
            <a:r>
              <a:rPr lang="en-US" dirty="0" err="1"/>
              <a:t>Pabalo</a:t>
            </a:r>
            <a:r>
              <a:rPr lang="en-US" dirty="0"/>
              <a:t>, Senior Software Engineer</a:t>
            </a:r>
          </a:p>
          <a:p>
            <a:pPr marL="1143000" lvl="1" indent="-457200"/>
            <a:r>
              <a:rPr lang="en-US" dirty="0"/>
              <a:t>ROS2 </a:t>
            </a:r>
            <a:r>
              <a:rPr lang="en-US" dirty="0" err="1"/>
              <a:t>Basiert</a:t>
            </a:r>
            <a:endParaRPr lang="en-US" dirty="0"/>
          </a:p>
          <a:p>
            <a:pPr marL="1143000" lvl="1" indent="-457200"/>
            <a:r>
              <a:rPr lang="en-US" dirty="0" err="1"/>
              <a:t>Fokus</a:t>
            </a:r>
            <a:r>
              <a:rPr lang="en-US" dirty="0"/>
              <a:t> auf Robustness (Safety) und </a:t>
            </a:r>
            <a:r>
              <a:rPr lang="en-US" dirty="0" err="1"/>
              <a:t>Sicherheit</a:t>
            </a:r>
            <a:r>
              <a:rPr lang="en-US" dirty="0"/>
              <a:t> (Securit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/>
              <a:t>Apex.Autonomy</a:t>
            </a:r>
            <a:endParaRPr lang="de-DE" dirty="0"/>
          </a:p>
          <a:p>
            <a:pPr marL="1143000" lvl="1" indent="-457200"/>
            <a:r>
              <a:rPr lang="de-DE" dirty="0"/>
              <a:t>Softwareframework mit Applikationen für selbstständiges Fahren</a:t>
            </a:r>
          </a:p>
          <a:p>
            <a:pPr marL="1143000" lvl="1" indent="-457200"/>
            <a:r>
              <a:rPr lang="de-DE" dirty="0"/>
              <a:t>3D </a:t>
            </a:r>
            <a:r>
              <a:rPr lang="de-DE" dirty="0" err="1"/>
              <a:t>Perception</a:t>
            </a:r>
            <a:endParaRPr lang="de-DE" dirty="0"/>
          </a:p>
          <a:p>
            <a:pPr marL="1143000" lvl="1" indent="-457200"/>
            <a:r>
              <a:rPr lang="de-DE" dirty="0"/>
              <a:t>Lokalisierung, Pfadplanung und Steuerung von Fahrzeugen (In Planung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780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b="1" dirty="0" err="1"/>
              <a:t>Autonom</a:t>
            </a:r>
            <a:r>
              <a:rPr lang="en-US" sz="2000" b="1" dirty="0"/>
              <a:t> </a:t>
            </a:r>
            <a:r>
              <a:rPr lang="en-US" sz="2000" b="1" dirty="0" err="1"/>
              <a:t>navigierende</a:t>
            </a:r>
            <a:r>
              <a:rPr lang="en-US" sz="2000" b="1" dirty="0"/>
              <a:t> </a:t>
            </a:r>
            <a:r>
              <a:rPr lang="en-US" sz="2000" b="1" dirty="0" err="1"/>
              <a:t>Forschungsplattformen</a:t>
            </a:r>
            <a:endParaRPr lang="en-US" sz="2000" b="1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</a:t>
            </a:r>
            <a:r>
              <a:rPr lang="en-US" sz="2400" dirty="0" smtClean="0"/>
              <a:t>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00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Ubiquity</a:t>
            </a:r>
            <a:r>
              <a:rPr lang="de-DE" dirty="0"/>
              <a:t> </a:t>
            </a:r>
            <a:r>
              <a:rPr lang="de-DE" dirty="0" err="1" smtClean="0"/>
              <a:t>Robotics</a:t>
            </a:r>
            <a:r>
              <a:rPr lang="de-DE" dirty="0"/>
              <a:t> </a:t>
            </a:r>
            <a:r>
              <a:rPr lang="de-DE" dirty="0" err="1" smtClean="0"/>
              <a:t>Magni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100kg Zuladung</a:t>
            </a:r>
          </a:p>
          <a:p>
            <a:pPr marL="1143000" lvl="1" indent="-457200"/>
            <a:r>
              <a:rPr lang="de-DE" dirty="0" smtClean="0"/>
              <a:t>Stromversorgung über </a:t>
            </a:r>
            <a:r>
              <a:rPr lang="de-DE" dirty="0" err="1" smtClean="0"/>
              <a:t>Bleiakkus</a:t>
            </a:r>
            <a:endParaRPr lang="de-DE" dirty="0" smtClean="0"/>
          </a:p>
          <a:p>
            <a:pPr marL="1143000" lvl="1" indent="-457200"/>
            <a:r>
              <a:rPr lang="de-DE" dirty="0" err="1" smtClean="0"/>
              <a:t>Raspberry</a:t>
            </a:r>
            <a:r>
              <a:rPr lang="de-DE" dirty="0" smtClean="0"/>
              <a:t> Pi 3B als Bordcomputer</a:t>
            </a:r>
          </a:p>
          <a:p>
            <a:pPr marL="1143000" lvl="1" indent="-457200"/>
            <a:r>
              <a:rPr lang="de-DE" dirty="0" smtClean="0"/>
              <a:t>ROS1 </a:t>
            </a:r>
            <a:r>
              <a:rPr lang="de-DE" dirty="0" err="1" smtClean="0"/>
              <a:t>Kinetic</a:t>
            </a:r>
            <a:r>
              <a:rPr lang="de-DE" dirty="0" smtClean="0"/>
              <a:t> auf Ubuntu 16.04</a:t>
            </a:r>
          </a:p>
          <a:p>
            <a:pPr marL="1143000" lvl="1" indent="-457200"/>
            <a:r>
              <a:rPr lang="de-DE" dirty="0" smtClean="0"/>
              <a:t>1900 USD</a:t>
            </a:r>
          </a:p>
          <a:p>
            <a:pPr marL="457200" indent="-457200"/>
            <a:r>
              <a:rPr lang="de-DE" dirty="0" err="1" smtClean="0"/>
              <a:t>Innok</a:t>
            </a:r>
            <a:r>
              <a:rPr lang="de-DE" dirty="0" smtClean="0"/>
              <a:t> Heros</a:t>
            </a:r>
          </a:p>
          <a:p>
            <a:pPr marL="1143000" lvl="1" indent="-457200"/>
            <a:r>
              <a:rPr lang="de-DE" dirty="0" smtClean="0"/>
              <a:t>Modulare Forschungsplattform</a:t>
            </a:r>
          </a:p>
          <a:p>
            <a:pPr marL="1143000" lvl="1" indent="-457200"/>
            <a:r>
              <a:rPr lang="de-DE" dirty="0" smtClean="0"/>
              <a:t>Bis zu 400kg Zuladung</a:t>
            </a:r>
          </a:p>
          <a:p>
            <a:pPr marL="1143000" lvl="1" indent="-457200"/>
            <a:r>
              <a:rPr lang="de-DE" dirty="0" smtClean="0"/>
              <a:t>GPS, Fernbedienung, LIDAR, IMU, WLAN</a:t>
            </a:r>
          </a:p>
          <a:p>
            <a:pPr marL="1143000" lvl="1" indent="-457200"/>
            <a:r>
              <a:rPr lang="de-DE" dirty="0" smtClean="0"/>
              <a:t>48V Li-Ion Akkus</a:t>
            </a:r>
          </a:p>
          <a:p>
            <a:pPr marL="1143000" lvl="1" indent="-457200"/>
            <a:r>
              <a:rPr lang="de-DE" dirty="0" smtClean="0"/>
              <a:t>x86 Industrie PC mit ROS1</a:t>
            </a:r>
          </a:p>
          <a:p>
            <a:pPr marL="1143000" lvl="1" indent="-457200"/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64" y="1150483"/>
            <a:ext cx="3230336" cy="256422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57" b="50430"/>
          <a:stretch/>
        </p:blipFill>
        <p:spPr>
          <a:xfrm>
            <a:off x="7516024" y="3577318"/>
            <a:ext cx="3543861" cy="23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86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400" dirty="0" err="1" smtClean="0"/>
              <a:t>Autonomous</a:t>
            </a:r>
            <a:r>
              <a:rPr lang="de-DE" sz="2400" dirty="0" smtClean="0"/>
              <a:t> Campus Mobility </a:t>
            </a:r>
            <a:r>
              <a:rPr lang="de-DE" sz="2400" dirty="0" err="1" smtClean="0"/>
              <a:t>Platform</a:t>
            </a:r>
            <a:r>
              <a:rPr lang="de-DE" sz="2400" dirty="0" smtClean="0"/>
              <a:t> (2018)</a:t>
            </a:r>
          </a:p>
          <a:p>
            <a:pPr lvl="1"/>
            <a:r>
              <a:rPr lang="de-DE" dirty="0" smtClean="0"/>
              <a:t>Major </a:t>
            </a:r>
            <a:r>
              <a:rPr lang="de-DE" dirty="0" err="1"/>
              <a:t>Qualifying</a:t>
            </a:r>
            <a:r>
              <a:rPr lang="de-DE" dirty="0"/>
              <a:t> </a:t>
            </a:r>
            <a:r>
              <a:rPr lang="de-DE" dirty="0" smtClean="0"/>
              <a:t>Project</a:t>
            </a:r>
          </a:p>
          <a:p>
            <a:pPr lvl="1"/>
            <a:r>
              <a:rPr lang="de-DE" dirty="0" smtClean="0"/>
              <a:t>Elektrisches </a:t>
            </a:r>
            <a:r>
              <a:rPr lang="de-DE" dirty="0" err="1"/>
              <a:t>Longboard</a:t>
            </a:r>
            <a:r>
              <a:rPr lang="de-DE" dirty="0"/>
              <a:t> mit </a:t>
            </a:r>
            <a:r>
              <a:rPr lang="de-DE" dirty="0" smtClean="0"/>
              <a:t>lenkbarer Vorderachse</a:t>
            </a:r>
          </a:p>
          <a:p>
            <a:pPr lvl="1"/>
            <a:r>
              <a:rPr lang="de-DE" dirty="0" err="1"/>
              <a:t>Lidar</a:t>
            </a:r>
            <a:r>
              <a:rPr lang="de-DE" dirty="0"/>
              <a:t> </a:t>
            </a:r>
            <a:r>
              <a:rPr lang="de-DE" dirty="0" smtClean="0"/>
              <a:t>, GPS, IMU</a:t>
            </a:r>
          </a:p>
          <a:p>
            <a:pPr lvl="1"/>
            <a:r>
              <a:rPr lang="de-DE" dirty="0" err="1" smtClean="0"/>
              <a:t>Raspberry</a:t>
            </a:r>
            <a:r>
              <a:rPr lang="de-DE" dirty="0" smtClean="0"/>
              <a:t> Pi 3</a:t>
            </a:r>
          </a:p>
          <a:p>
            <a:pPr lvl="1"/>
            <a:r>
              <a:rPr lang="de-DE" dirty="0" smtClean="0"/>
              <a:t>Software scheinbar Eigenentwicklung</a:t>
            </a:r>
          </a:p>
          <a:p>
            <a:r>
              <a:rPr lang="de-DE" sz="2400" dirty="0" err="1" smtClean="0"/>
              <a:t>Autonomous</a:t>
            </a:r>
            <a:r>
              <a:rPr lang="de-DE" sz="2400" dirty="0" smtClean="0"/>
              <a:t> </a:t>
            </a:r>
            <a:r>
              <a:rPr lang="de-DE" sz="2400" dirty="0" err="1"/>
              <a:t>navigation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mobile </a:t>
            </a:r>
            <a:r>
              <a:rPr lang="de-DE" sz="2400" dirty="0" err="1"/>
              <a:t>service</a:t>
            </a:r>
            <a:r>
              <a:rPr lang="de-DE" sz="2400" dirty="0"/>
              <a:t> </a:t>
            </a:r>
            <a:r>
              <a:rPr lang="de-DE" sz="2400" dirty="0" err="1"/>
              <a:t>robots</a:t>
            </a:r>
            <a:r>
              <a:rPr lang="de-DE" sz="2400" dirty="0"/>
              <a:t> in urban </a:t>
            </a:r>
            <a:r>
              <a:rPr lang="de-DE" sz="2400" dirty="0" err="1"/>
              <a:t>pedestrian</a:t>
            </a:r>
            <a:r>
              <a:rPr lang="de-DE" sz="2400" dirty="0"/>
              <a:t> </a:t>
            </a:r>
            <a:r>
              <a:rPr lang="de-DE" sz="2400" dirty="0" err="1"/>
              <a:t>environments</a:t>
            </a:r>
            <a:r>
              <a:rPr lang="de-DE" sz="2400" dirty="0"/>
              <a:t> </a:t>
            </a:r>
            <a:r>
              <a:rPr lang="de-DE" sz="2400" dirty="0" smtClean="0"/>
              <a:t>(2018)</a:t>
            </a:r>
          </a:p>
          <a:p>
            <a:pPr marL="1143000" lvl="1" indent="-457200"/>
            <a:r>
              <a:rPr lang="de-DE" dirty="0"/>
              <a:t>Serviceroboter 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Antrieb: </a:t>
            </a:r>
            <a:r>
              <a:rPr lang="de-DE" dirty="0" err="1" smtClean="0"/>
              <a:t>Segway</a:t>
            </a:r>
            <a:r>
              <a:rPr lang="de-DE" dirty="0" smtClean="0"/>
              <a:t> RMP200</a:t>
            </a:r>
          </a:p>
          <a:p>
            <a:pPr marL="1143000" lvl="1" indent="-457200"/>
            <a:r>
              <a:rPr lang="de-DE" dirty="0" smtClean="0"/>
              <a:t>Sensorik: 3x LIDAR + IMU + </a:t>
            </a:r>
            <a:r>
              <a:rPr lang="de-DE" dirty="0" err="1" smtClean="0"/>
              <a:t>Odometrie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Eigene Softwarearchitektur mit zwei Regelschleifen</a:t>
            </a:r>
          </a:p>
          <a:p>
            <a:pPr lvl="1" indent="0">
              <a:buNone/>
            </a:pPr>
            <a:r>
              <a:rPr lang="de-DE" dirty="0" smtClean="0"/>
              <a:t>	   f. Hindernisvermeidung (10Hz) und Navigation (5Hz)</a:t>
            </a:r>
          </a:p>
          <a:p>
            <a:endParaRPr lang="de-DE" sz="2400" dirty="0" smtClean="0"/>
          </a:p>
          <a:p>
            <a:endParaRPr lang="de-DE" sz="2400" dirty="0" smtClean="0"/>
          </a:p>
          <a:p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33" y="1347735"/>
            <a:ext cx="2729786" cy="204855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135" y="3909129"/>
            <a:ext cx="2525484" cy="218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9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3" y="944724"/>
            <a:ext cx="11262755" cy="5390761"/>
          </a:xfr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Wheelchair</a:t>
            </a:r>
            <a:r>
              <a:rPr lang="de-DE" dirty="0"/>
              <a:t> System (2017</a:t>
            </a:r>
            <a:r>
              <a:rPr lang="de-DE" dirty="0" smtClean="0"/>
              <a:t>)</a:t>
            </a:r>
          </a:p>
          <a:p>
            <a:pPr marL="1143000" lvl="1" indent="-457200"/>
            <a:r>
              <a:rPr lang="en-US" dirty="0" err="1" smtClean="0"/>
              <a:t>Kartografierungsmobil</a:t>
            </a:r>
            <a:endParaRPr lang="en-US" dirty="0" smtClean="0"/>
          </a:p>
          <a:p>
            <a:pPr marL="1143000" lvl="1" indent="-457200"/>
            <a:r>
              <a:rPr lang="en-US" dirty="0" err="1" smtClean="0"/>
              <a:t>Anschließende</a:t>
            </a:r>
            <a:r>
              <a:rPr lang="en-US" dirty="0" smtClean="0"/>
              <a:t> Navigation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3D </a:t>
            </a:r>
            <a:r>
              <a:rPr lang="en-US" dirty="0" err="1" smtClean="0"/>
              <a:t>Kamera</a:t>
            </a:r>
            <a:r>
              <a:rPr lang="en-US" dirty="0" smtClean="0"/>
              <a:t>,</a:t>
            </a:r>
          </a:p>
          <a:p>
            <a:pPr lvl="1" indent="0">
              <a:buNone/>
            </a:pPr>
            <a:r>
              <a:rPr lang="en-US" dirty="0" smtClean="0"/>
              <a:t>	    LIDAR, Encoder IMU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</a:p>
          <a:p>
            <a:r>
              <a:rPr lang="en-US" dirty="0" smtClean="0"/>
              <a:t>Autonomous </a:t>
            </a:r>
            <a:r>
              <a:rPr lang="en-US" dirty="0"/>
              <a:t>Wheelchair Navigation in Unmapped Indoor Environments (2018</a:t>
            </a:r>
            <a:r>
              <a:rPr lang="en-US" dirty="0" smtClean="0"/>
              <a:t>)</a:t>
            </a:r>
          </a:p>
          <a:p>
            <a:pPr marL="1143000" lvl="1" indent="-457200"/>
            <a:r>
              <a:rPr lang="en-US" dirty="0" smtClean="0"/>
              <a:t>Navigation in </a:t>
            </a:r>
            <a:r>
              <a:rPr lang="en-US" dirty="0" err="1" smtClean="0"/>
              <a:t>nichtkartografierter</a:t>
            </a:r>
            <a:r>
              <a:rPr lang="en-US" dirty="0" smtClean="0"/>
              <a:t> </a:t>
            </a:r>
            <a:r>
              <a:rPr lang="en-US" dirty="0" err="1" smtClean="0"/>
              <a:t>Indoorumgebung</a:t>
            </a:r>
            <a:endParaRPr lang="en-US" dirty="0" smtClean="0"/>
          </a:p>
          <a:p>
            <a:pPr marL="1143000" lvl="1" indent="-457200"/>
            <a:r>
              <a:rPr lang="en-US" dirty="0" err="1" smtClean="0"/>
              <a:t>Finden</a:t>
            </a:r>
            <a:r>
              <a:rPr lang="en-US" dirty="0" smtClean="0"/>
              <a:t> von </a:t>
            </a:r>
            <a:r>
              <a:rPr lang="en-US" dirty="0" err="1" smtClean="0"/>
              <a:t>Geschäft</a:t>
            </a:r>
            <a:r>
              <a:rPr lang="en-US" dirty="0" smtClean="0"/>
              <a:t> </a:t>
            </a:r>
            <a:r>
              <a:rPr lang="en-US" dirty="0" err="1" smtClean="0"/>
              <a:t>über</a:t>
            </a:r>
            <a:r>
              <a:rPr lang="en-US" dirty="0" smtClean="0"/>
              <a:t> </a:t>
            </a:r>
            <a:r>
              <a:rPr lang="en-US" dirty="0" err="1" smtClean="0"/>
              <a:t>Bilddaten</a:t>
            </a:r>
            <a:endParaRPr lang="de-DE" dirty="0" smtClean="0"/>
          </a:p>
          <a:p>
            <a:r>
              <a:rPr lang="de-DE" dirty="0"/>
              <a:t>Template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autonomous</a:t>
            </a:r>
            <a:r>
              <a:rPr lang="de-DE" dirty="0"/>
              <a:t> </a:t>
            </a:r>
            <a:r>
              <a:rPr lang="de-DE" dirty="0" err="1"/>
              <a:t>navigation</a:t>
            </a:r>
            <a:r>
              <a:rPr lang="de-DE" dirty="0"/>
              <a:t> in urban </a:t>
            </a:r>
            <a:r>
              <a:rPr lang="de-DE" dirty="0" err="1"/>
              <a:t>environments</a:t>
            </a:r>
            <a:r>
              <a:rPr lang="de-DE" dirty="0"/>
              <a:t> (2011)</a:t>
            </a:r>
          </a:p>
          <a:p>
            <a:pPr lvl="1"/>
            <a:r>
              <a:rPr lang="de-DE" dirty="0" smtClean="0"/>
              <a:t>Bild aus Graustufenkamera wird genutzt um mittels Template </a:t>
            </a:r>
            <a:r>
              <a:rPr lang="de-DE" dirty="0" err="1" smtClean="0"/>
              <a:t>Matching</a:t>
            </a:r>
            <a:r>
              <a:rPr lang="de-DE" dirty="0" smtClean="0"/>
              <a:t> Position und Orientierung auf der Fahrbahn zu bestimmen</a:t>
            </a:r>
          </a:p>
          <a:p>
            <a:pPr lvl="1"/>
            <a:r>
              <a:rPr lang="de-DE" dirty="0" smtClean="0"/>
              <a:t>Keine Lokalisierung </a:t>
            </a:r>
            <a:r>
              <a:rPr lang="de-DE" dirty="0" err="1" smtClean="0"/>
              <a:t>bzw</a:t>
            </a:r>
            <a:r>
              <a:rPr lang="de-DE" dirty="0" smtClean="0"/>
              <a:t> Hindernisvermeidu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399" y="841479"/>
            <a:ext cx="2654730" cy="236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4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5"/>
            <a:ext cx="10515600" cy="671512"/>
          </a:xfrm>
        </p:spPr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Navigation System for Robots Operating in Crowded Urban Environments (2013</a:t>
            </a:r>
            <a:r>
              <a:rPr lang="en-US" dirty="0" smtClean="0"/>
              <a:t>)</a:t>
            </a:r>
          </a:p>
          <a:p>
            <a:pPr marL="1143000" lvl="1" indent="-457200"/>
            <a:r>
              <a:rPr lang="en-US" dirty="0" err="1" smtClean="0"/>
              <a:t>Assistenzroboter</a:t>
            </a:r>
            <a:r>
              <a:rPr lang="en-US" dirty="0" smtClean="0"/>
              <a:t> </a:t>
            </a:r>
          </a:p>
          <a:p>
            <a:pPr marL="1143000" lvl="1" indent="-457200"/>
            <a:r>
              <a:rPr lang="en-US" dirty="0" err="1" smtClean="0"/>
              <a:t>Navigiert</a:t>
            </a:r>
            <a:r>
              <a:rPr lang="en-US" dirty="0" smtClean="0"/>
              <a:t> in </a:t>
            </a:r>
            <a:r>
              <a:rPr lang="en-US" dirty="0" err="1" smtClean="0"/>
              <a:t>vorher</a:t>
            </a:r>
            <a:r>
              <a:rPr lang="en-US" dirty="0" smtClean="0"/>
              <a:t> </a:t>
            </a:r>
            <a:r>
              <a:rPr lang="en-US" dirty="0" err="1" smtClean="0"/>
              <a:t>kartografierten</a:t>
            </a:r>
            <a:r>
              <a:rPr lang="en-US" dirty="0" smtClean="0"/>
              <a:t> </a:t>
            </a:r>
            <a:r>
              <a:rPr lang="en-US" dirty="0" err="1" smtClean="0"/>
              <a:t>Gebiet</a:t>
            </a:r>
            <a:endParaRPr lang="en-US" dirty="0" smtClean="0"/>
          </a:p>
          <a:p>
            <a:pPr marL="1143000" lvl="1" indent="-457200"/>
            <a:r>
              <a:rPr lang="en-US" dirty="0" smtClean="0"/>
              <a:t>IMU, GPS, Lidar</a:t>
            </a:r>
          </a:p>
          <a:p>
            <a:r>
              <a:rPr lang="en-US" dirty="0"/>
              <a:t>The Autonomous City Explorer (2009</a:t>
            </a:r>
            <a:r>
              <a:rPr lang="en-US" dirty="0" smtClean="0"/>
              <a:t>)</a:t>
            </a:r>
          </a:p>
          <a:p>
            <a:pPr marL="1143000" lvl="1" indent="-457200"/>
            <a:r>
              <a:rPr lang="en-US" dirty="0" smtClean="0"/>
              <a:t>2X LIDAR, 3D </a:t>
            </a:r>
            <a:r>
              <a:rPr lang="en-US" dirty="0" err="1" smtClean="0"/>
              <a:t>Kamera</a:t>
            </a:r>
            <a:r>
              <a:rPr lang="en-US" dirty="0"/>
              <a:t> </a:t>
            </a:r>
            <a:r>
              <a:rPr lang="en-US" dirty="0" smtClean="0"/>
              <a:t>auf Gimbal, Encoder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</a:p>
          <a:p>
            <a:pPr marL="1143000" lvl="1" indent="-457200"/>
            <a:r>
              <a:rPr lang="en-US" dirty="0" err="1" smtClean="0"/>
              <a:t>Benötigt</a:t>
            </a:r>
            <a:r>
              <a:rPr lang="en-US" dirty="0" smtClean="0"/>
              <a:t> </a:t>
            </a:r>
            <a:r>
              <a:rPr lang="en-US" dirty="0" err="1" smtClean="0"/>
              <a:t>ebenfalls</a:t>
            </a:r>
            <a:r>
              <a:rPr lang="en-US" dirty="0" smtClean="0"/>
              <a:t> </a:t>
            </a:r>
            <a:r>
              <a:rPr lang="en-US" dirty="0" err="1" smtClean="0"/>
              <a:t>vorher</a:t>
            </a:r>
            <a:r>
              <a:rPr lang="en-US" dirty="0" smtClean="0"/>
              <a:t> </a:t>
            </a:r>
            <a:r>
              <a:rPr lang="en-US" dirty="0" err="1" smtClean="0"/>
              <a:t>erstellte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endParaRPr lang="en-US" dirty="0" smtClean="0"/>
          </a:p>
          <a:p>
            <a:pPr marL="1143000" lvl="1" indent="-457200"/>
            <a:r>
              <a:rPr lang="en-US" dirty="0" smtClean="0"/>
              <a:t>3x PC </a:t>
            </a:r>
            <a:r>
              <a:rPr lang="en-US" dirty="0" err="1" smtClean="0"/>
              <a:t>als</a:t>
            </a:r>
            <a:r>
              <a:rPr lang="en-US" dirty="0" smtClean="0"/>
              <a:t> </a:t>
            </a:r>
            <a:r>
              <a:rPr lang="en-US" dirty="0" err="1" smtClean="0"/>
              <a:t>Bordcomputer</a:t>
            </a:r>
            <a:endParaRPr lang="en-US" dirty="0" smtClean="0"/>
          </a:p>
          <a:p>
            <a:r>
              <a:rPr lang="de-DE" dirty="0"/>
              <a:t>TOOMAS (2009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 Toom Shoppingassistenzroboter</a:t>
            </a:r>
          </a:p>
          <a:p>
            <a:pPr lvl="1"/>
            <a:r>
              <a:rPr lang="en-US" dirty="0" smtClean="0"/>
              <a:t>24x Sonar, Bumper, 360° </a:t>
            </a:r>
            <a:r>
              <a:rPr lang="en-US" dirty="0" err="1" smtClean="0"/>
              <a:t>Kamera</a:t>
            </a:r>
            <a:r>
              <a:rPr lang="en-US" dirty="0" smtClean="0"/>
              <a:t>, LIDAR </a:t>
            </a:r>
            <a:r>
              <a:rPr lang="en-US" dirty="0" err="1" smtClean="0"/>
              <a:t>nur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TÜV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257" y="1588302"/>
            <a:ext cx="1774372" cy="438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400" dirty="0" err="1" smtClean="0"/>
              <a:t>Delivery</a:t>
            </a:r>
            <a:r>
              <a:rPr lang="de-DE" sz="2400" dirty="0" smtClean="0"/>
              <a:t> Roboter</a:t>
            </a:r>
          </a:p>
          <a:p>
            <a:pPr marL="1200150" lvl="1" indent="-514350"/>
            <a:r>
              <a:rPr lang="de-DE" sz="2000" dirty="0" err="1" smtClean="0"/>
              <a:t>Starship</a:t>
            </a:r>
            <a:r>
              <a:rPr lang="de-DE" sz="2000" dirty="0" smtClean="0"/>
              <a:t> Technologies</a:t>
            </a:r>
          </a:p>
          <a:p>
            <a:pPr marL="1200150" lvl="1" indent="-514350"/>
            <a:r>
              <a:rPr lang="de-DE" sz="2000" dirty="0" err="1" smtClean="0"/>
              <a:t>Marble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Kiwi</a:t>
            </a:r>
          </a:p>
          <a:p>
            <a:pPr marL="1200150" lvl="1" indent="-514350"/>
            <a:r>
              <a:rPr lang="de-DE" sz="2000" dirty="0" err="1" smtClean="0"/>
              <a:t>Nuro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Amazon Scout</a:t>
            </a:r>
          </a:p>
          <a:p>
            <a:pPr marL="514350" indent="-514350"/>
            <a:r>
              <a:rPr lang="de-DE" sz="2400" dirty="0" smtClean="0"/>
              <a:t>ca. 10kg Payload</a:t>
            </a:r>
          </a:p>
          <a:p>
            <a:pPr marL="514350" indent="-514350"/>
            <a:r>
              <a:rPr lang="de-DE" sz="2400" dirty="0" smtClean="0"/>
              <a:t>Sensorik: Sonar, (3D)Kameras,</a:t>
            </a:r>
          </a:p>
          <a:p>
            <a:pPr marL="514350" indent="-514350"/>
            <a:r>
              <a:rPr lang="de-DE" sz="2400" dirty="0" smtClean="0"/>
              <a:t>LIDAR, GPS</a:t>
            </a:r>
            <a:endParaRPr lang="de-DE" sz="2400" dirty="0"/>
          </a:p>
          <a:p>
            <a:pPr marL="514350" indent="-514350"/>
            <a:r>
              <a:rPr lang="de-DE" sz="2400" dirty="0" smtClean="0"/>
              <a:t>Nicht viele Infos öffentlich </a:t>
            </a:r>
          </a:p>
          <a:p>
            <a:pPr marL="514350" indent="-514350"/>
            <a:r>
              <a:rPr lang="de-DE" sz="2400" dirty="0" smtClean="0"/>
              <a:t>verfügbar </a:t>
            </a:r>
          </a:p>
          <a:p>
            <a:pPr marL="514350" indent="-514350"/>
            <a:r>
              <a:rPr lang="de-DE" sz="2400" dirty="0" smtClean="0"/>
              <a:t>Einige Plattformen sind bereits testweise im Einsatz</a:t>
            </a:r>
            <a:endParaRPr lang="de-DE" dirty="0" smtClean="0"/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83" t="39160" r="28232" b="3145"/>
          <a:stretch/>
        </p:blipFill>
        <p:spPr>
          <a:xfrm>
            <a:off x="8262257" y="2852056"/>
            <a:ext cx="3418115" cy="29958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355" y="1090579"/>
            <a:ext cx="2426017" cy="161562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585" y="2253342"/>
            <a:ext cx="2647506" cy="338545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480" y="940975"/>
            <a:ext cx="2988875" cy="1905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4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b="1" dirty="0" err="1" smtClean="0"/>
              <a:t>Weite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relevant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rojekte</a:t>
            </a:r>
            <a:endParaRPr lang="en-US" sz="2000" b="1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774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Staubsaugroboter am Beispiel </a:t>
            </a:r>
            <a:r>
              <a:rPr lang="de-DE" dirty="0" err="1"/>
              <a:t>Roborock</a:t>
            </a:r>
            <a:r>
              <a:rPr lang="de-DE" dirty="0"/>
              <a:t> </a:t>
            </a:r>
            <a:r>
              <a:rPr lang="de-DE" dirty="0" smtClean="0"/>
              <a:t>S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LAM mittels LIDA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dernisvermeidung mit </a:t>
            </a:r>
            <a:r>
              <a:rPr lang="de-DE" dirty="0" err="1" smtClean="0"/>
              <a:t>Bumper</a:t>
            </a:r>
            <a:r>
              <a:rPr lang="de-DE" dirty="0" smtClean="0"/>
              <a:t>, Sonar / Cliff Sens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Kartografierung</a:t>
            </a:r>
            <a:r>
              <a:rPr lang="de-DE" dirty="0" smtClean="0"/>
              <a:t> der eigenen Wohnung</a:t>
            </a:r>
          </a:p>
          <a:p>
            <a:r>
              <a:rPr lang="de-DE" dirty="0" smtClean="0"/>
              <a:t>	-&gt; Reinigung  einzelner Räume über App möglich</a:t>
            </a:r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1" y="3712026"/>
            <a:ext cx="2242459" cy="224245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43" t="1878" b="20873"/>
          <a:stretch/>
        </p:blipFill>
        <p:spPr>
          <a:xfrm>
            <a:off x="9474774" y="1719943"/>
            <a:ext cx="2185155" cy="350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8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36931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Ideales Transportmittel für letzte Meile schwer zu fin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Von letzter ÖPNV Haltestelle muss oft noch viel Weg zum Ziel zurückgeleg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versuchen Problematik zu lösen</a:t>
            </a:r>
          </a:p>
          <a:p>
            <a:pPr marL="1143000" lvl="1" indent="-457200"/>
            <a:r>
              <a:rPr lang="de-DE" sz="3200" dirty="0" smtClean="0"/>
              <a:t>Stehen nach der Fahrt im Weg </a:t>
            </a:r>
          </a:p>
          <a:p>
            <a:pPr marL="1143000" lvl="1" indent="-457200"/>
            <a:r>
              <a:rPr lang="de-DE" sz="3200" dirty="0" smtClean="0"/>
              <a:t>Müssen zurückgebrach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ie lässt sich die letzte Meile besser bewältigen?</a:t>
            </a:r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12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Segway</a:t>
            </a:r>
            <a:r>
              <a:rPr lang="de-DE" dirty="0" smtClean="0"/>
              <a:t> </a:t>
            </a:r>
            <a:r>
              <a:rPr lang="de-DE" dirty="0" err="1" smtClean="0"/>
              <a:t>Loomo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„Smarter“ </a:t>
            </a:r>
            <a:r>
              <a:rPr lang="de-DE" dirty="0" err="1" smtClean="0"/>
              <a:t>Segway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ahrbar oder selbstfahre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1700 USD (</a:t>
            </a:r>
            <a:r>
              <a:rPr lang="de-DE" dirty="0" err="1" smtClean="0"/>
              <a:t>preorder</a:t>
            </a:r>
            <a:r>
              <a:rPr lang="de-DE" dirty="0" smtClean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Inzwischen </a:t>
            </a:r>
            <a:r>
              <a:rPr lang="de-DE" dirty="0" smtClean="0"/>
              <a:t>2.299,00 USD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droid Tablet als B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885" y="1625311"/>
            <a:ext cx="7390033" cy="443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4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</a:t>
            </a:r>
            <a:r>
              <a:rPr lang="en-US" sz="2400" b="1" dirty="0" smtClean="0"/>
              <a:t>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37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</a:t>
            </a:r>
            <a:r>
              <a:rPr lang="en-US" sz="2400" b="1" dirty="0" smtClean="0"/>
              <a:t>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b="1" dirty="0" err="1"/>
              <a:t>Hardwareauswahl</a:t>
            </a:r>
            <a:endParaRPr lang="en-US" sz="2000" b="1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53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Loomo</a:t>
            </a:r>
            <a:r>
              <a:rPr lang="de-DE" dirty="0" smtClean="0"/>
              <a:t> oder </a:t>
            </a:r>
            <a:r>
              <a:rPr lang="de-DE" dirty="0" err="1" smtClean="0"/>
              <a:t>Hoverboard</a:t>
            </a:r>
            <a:r>
              <a:rPr lang="de-DE" dirty="0" smtClean="0"/>
              <a:t>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3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952954"/>
              </p:ext>
            </p:extLst>
          </p:nvPr>
        </p:nvGraphicFramePr>
        <p:xfrm>
          <a:off x="1457325" y="1634385"/>
          <a:ext cx="9754960" cy="236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7480">
                  <a:extLst>
                    <a:ext uri="{9D8B030D-6E8A-4147-A177-3AD203B41FA5}">
                      <a16:colId xmlns:a16="http://schemas.microsoft.com/office/drawing/2014/main" val="2036108559"/>
                    </a:ext>
                  </a:extLst>
                </a:gridCol>
                <a:gridCol w="4877480">
                  <a:extLst>
                    <a:ext uri="{9D8B030D-6E8A-4147-A177-3AD203B41FA5}">
                      <a16:colId xmlns:a16="http://schemas.microsoft.com/office/drawing/2014/main" val="402714464"/>
                    </a:ext>
                  </a:extLst>
                </a:gridCol>
              </a:tblGrid>
              <a:tr h="78782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Loom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overboar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531152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geschlossenes System, erweiterbar über USB, Bluetooth</a:t>
                      </a:r>
                      <a:r>
                        <a:rPr lang="de-DE" baseline="0" dirty="0" smtClean="0"/>
                        <a:t>, WLA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Open</a:t>
                      </a:r>
                      <a:r>
                        <a:rPr lang="de-DE" baseline="0" dirty="0" smtClean="0"/>
                        <a:t> Source Firmware verfügbar, Hardware gut dokumentiert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928991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hohe Anschaffungskosten</a:t>
                      </a:r>
                      <a:r>
                        <a:rPr lang="de-DE" baseline="0" dirty="0" smtClean="0"/>
                        <a:t> (1600 USD), dafür fast Komplettpake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erhältnismäßig günstig</a:t>
                      </a:r>
                      <a:r>
                        <a:rPr lang="de-DE" baseline="0" dirty="0" smtClean="0"/>
                        <a:t> (150€), dafür nur Antriebsplattform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236135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2236213" y="4930356"/>
            <a:ext cx="54349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-&gt; </a:t>
            </a:r>
            <a:r>
              <a:rPr lang="de-DE" sz="2400" dirty="0" err="1" smtClean="0"/>
              <a:t>Hoverboard</a:t>
            </a:r>
            <a:r>
              <a:rPr lang="de-DE" sz="2400" dirty="0" smtClean="0"/>
              <a:t> weil günstiger und flexibler</a:t>
            </a:r>
            <a:endParaRPr lang="de-DE" sz="24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20" b="25629"/>
          <a:stretch/>
        </p:blipFill>
        <p:spPr>
          <a:xfrm>
            <a:off x="8021682" y="4088674"/>
            <a:ext cx="3624943" cy="1828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437" b="96841" l="5977" r="9528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428" y="3543300"/>
            <a:ext cx="2183821" cy="2781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730" y="953799"/>
            <a:ext cx="3575685" cy="238379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" y="1422200"/>
            <a:ext cx="5982000" cy="398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9" t="15529" r="5315" b="10111"/>
          <a:stretch/>
        </p:blipFill>
        <p:spPr>
          <a:xfrm>
            <a:off x="6983729" y="3589019"/>
            <a:ext cx="3575685" cy="223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89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89555"/>
            <a:ext cx="3712088" cy="247472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867505"/>
            <a:ext cx="3230880" cy="215392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135" y="1255620"/>
            <a:ext cx="6377606" cy="483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3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Bordcomput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Erstmal kein </a:t>
            </a:r>
            <a:r>
              <a:rPr lang="de-DE" dirty="0" smtClean="0"/>
              <a:t>teurer</a:t>
            </a:r>
            <a:r>
              <a:rPr lang="de-DE" dirty="0" smtClean="0"/>
              <a:t>, großer x86 P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Grenzen der ARM Boards Tes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Requirement</a:t>
            </a:r>
            <a:r>
              <a:rPr lang="de-DE" dirty="0" smtClean="0"/>
              <a:t>: </a:t>
            </a:r>
            <a:r>
              <a:rPr lang="de-DE" dirty="0" smtClean="0"/>
              <a:t>Echtzeitfähige Kommunikation und Multiagentenfähig</a:t>
            </a:r>
          </a:p>
          <a:p>
            <a:r>
              <a:rPr lang="de-DE" dirty="0" smtClean="0"/>
              <a:t>-&gt; </a:t>
            </a:r>
            <a:r>
              <a:rPr lang="de-DE" dirty="0" smtClean="0"/>
              <a:t>ROS2 </a:t>
            </a:r>
            <a:r>
              <a:rPr lang="de-DE" dirty="0" smtClean="0"/>
              <a:t>-&gt; Momentan nur mit </a:t>
            </a:r>
            <a:r>
              <a:rPr lang="de-DE" dirty="0" err="1" smtClean="0"/>
              <a:t>Raspi</a:t>
            </a:r>
            <a:r>
              <a:rPr lang="de-DE" dirty="0" smtClean="0"/>
              <a:t> 3B mit Ubuntu 18.04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-&gt; </a:t>
            </a:r>
            <a:r>
              <a:rPr lang="de-DE" dirty="0" err="1" smtClean="0"/>
              <a:t>Raspberry</a:t>
            </a:r>
            <a:r>
              <a:rPr lang="de-DE" dirty="0" smtClean="0"/>
              <a:t> Pi Model 3B als Bordcomputer</a:t>
            </a:r>
          </a:p>
          <a:p>
            <a:pPr marL="1143000" lvl="1" indent="-457200"/>
            <a:r>
              <a:rPr lang="de-DE" dirty="0"/>
              <a:t>ARM-Cortex-A53 4x </a:t>
            </a:r>
            <a:r>
              <a:rPr lang="de-DE" dirty="0" smtClean="0"/>
              <a:t>1,2GHz</a:t>
            </a:r>
          </a:p>
          <a:p>
            <a:pPr marL="1143000" lvl="1" indent="-457200"/>
            <a:r>
              <a:rPr lang="de-DE" dirty="0" smtClean="0"/>
              <a:t>1GB RAM</a:t>
            </a:r>
          </a:p>
          <a:p>
            <a:pPr marL="1143000" lvl="1" indent="-457200"/>
            <a:r>
              <a:rPr lang="de-DE" dirty="0" smtClean="0"/>
              <a:t>WLAN, Bluetooth, Ethernet, I2C UART, USB</a:t>
            </a:r>
          </a:p>
          <a:p>
            <a:pPr marL="1143000" lvl="1" indent="-457200"/>
            <a:r>
              <a:rPr lang="de-DE" dirty="0" smtClean="0"/>
              <a:t>Unterstützung für 64 Bit Ubuntu</a:t>
            </a:r>
          </a:p>
          <a:p>
            <a:pPr marL="1143000" lvl="1" indent="-457200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500" r="98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2705098"/>
            <a:ext cx="4441372" cy="333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3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/>
              <a:t>(</a:t>
            </a:r>
            <a:r>
              <a:rPr lang="de-DE" dirty="0" smtClean="0"/>
              <a:t>RP)LIDAR für </a:t>
            </a:r>
            <a:r>
              <a:rPr lang="de-DE" dirty="0" smtClean="0"/>
              <a:t>Mapping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Kleiner, günstiger (100€) 2D </a:t>
            </a:r>
            <a:r>
              <a:rPr lang="de-DE" dirty="0" err="1" smtClean="0"/>
              <a:t>Lidar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Gute </a:t>
            </a:r>
            <a:r>
              <a:rPr lang="de-DE" dirty="0" smtClean="0"/>
              <a:t>ROS(1) </a:t>
            </a:r>
            <a:r>
              <a:rPr lang="de-DE" dirty="0" smtClean="0"/>
              <a:t>Unterstützung für </a:t>
            </a:r>
            <a:r>
              <a:rPr lang="de-DE" dirty="0" smtClean="0"/>
              <a:t>Mapping</a:t>
            </a:r>
          </a:p>
          <a:p>
            <a:pPr marL="1143000" lvl="1" indent="-457200"/>
            <a:r>
              <a:rPr lang="de-DE" dirty="0" smtClean="0"/>
              <a:t>Anbindung über USB-UART und existierenden Treiber</a:t>
            </a:r>
            <a:endParaRPr lang="de-DE" dirty="0" smtClean="0"/>
          </a:p>
          <a:p>
            <a:pPr marL="457200" indent="-457200"/>
            <a:r>
              <a:rPr lang="de-DE" dirty="0" smtClean="0"/>
              <a:t>Ultraschallsensoren für Hindernisvermeidung</a:t>
            </a:r>
          </a:p>
          <a:p>
            <a:pPr marL="1143000" lvl="1" indent="-457200"/>
            <a:r>
              <a:rPr lang="de-DE" dirty="0" smtClean="0"/>
              <a:t>SR04 Module, weil günstig (5stk -&gt; 7€)</a:t>
            </a:r>
          </a:p>
          <a:p>
            <a:pPr marL="1143000" lvl="1" indent="-457200"/>
            <a:r>
              <a:rPr lang="de-DE" dirty="0" err="1" smtClean="0"/>
              <a:t>Arduino</a:t>
            </a:r>
            <a:r>
              <a:rPr lang="de-DE" dirty="0" smtClean="0"/>
              <a:t> für Ansteuerung von 8stk </a:t>
            </a:r>
            <a:r>
              <a:rPr lang="de-DE" dirty="0" smtClean="0"/>
              <a:t>gleichzeitig</a:t>
            </a:r>
          </a:p>
          <a:p>
            <a:pPr marL="1143000" lvl="1" indent="-457200"/>
            <a:r>
              <a:rPr lang="de-DE" dirty="0" smtClean="0"/>
              <a:t>Abwandlung von </a:t>
            </a:r>
            <a:r>
              <a:rPr lang="de-DE" dirty="0" err="1" smtClean="0"/>
              <a:t>SonicDisc</a:t>
            </a:r>
            <a:r>
              <a:rPr lang="de-DE" dirty="0" smtClean="0"/>
              <a:t> Projekt </a:t>
            </a:r>
          </a:p>
          <a:p>
            <a:pPr marL="1600200" lvl="2" indent="-457200"/>
            <a:r>
              <a:rPr lang="de-DE" dirty="0" smtClean="0"/>
              <a:t>Paralleles Ansteuern mehrerer SR04 Module</a:t>
            </a:r>
          </a:p>
          <a:p>
            <a:pPr marL="1600200" lvl="2" indent="-457200"/>
            <a:r>
              <a:rPr lang="de-DE" dirty="0" smtClean="0"/>
              <a:t>Eigene Platine mit </a:t>
            </a:r>
            <a:r>
              <a:rPr lang="de-DE" dirty="0" err="1" smtClean="0"/>
              <a:t>Arduino</a:t>
            </a:r>
            <a:r>
              <a:rPr lang="de-DE" dirty="0" smtClean="0"/>
              <a:t> Nano als Controller</a:t>
            </a:r>
          </a:p>
          <a:p>
            <a:pPr marL="1600200" lvl="2" indent="-457200"/>
            <a:r>
              <a:rPr lang="de-DE" dirty="0" smtClean="0"/>
              <a:t>Eigenes Protokoll zum Senden der Daten an ROS2</a:t>
            </a:r>
          </a:p>
          <a:p>
            <a:pPr marL="1600200" lvl="2" indent="-457200"/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7" r="13524"/>
          <a:stretch/>
        </p:blipFill>
        <p:spPr>
          <a:xfrm>
            <a:off x="8656320" y="3364796"/>
            <a:ext cx="3154680" cy="267174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660" y="475315"/>
            <a:ext cx="2644140" cy="264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3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pPr marL="457200" indent="-457200"/>
            <a:r>
              <a:rPr lang="de-DE" dirty="0" smtClean="0"/>
              <a:t>GPS Empfänger f. globale Positionserfassung</a:t>
            </a:r>
          </a:p>
          <a:p>
            <a:pPr marL="1143000" lvl="1" indent="-457200"/>
            <a:r>
              <a:rPr lang="de-DE" dirty="0" err="1" smtClean="0"/>
              <a:t>Ublox</a:t>
            </a:r>
            <a:r>
              <a:rPr lang="de-DE" dirty="0" smtClean="0"/>
              <a:t> SAM-M8Q</a:t>
            </a:r>
          </a:p>
          <a:p>
            <a:pPr marL="1143000" lvl="1" indent="-457200"/>
            <a:r>
              <a:rPr lang="de-DE" dirty="0" smtClean="0"/>
              <a:t>Eigentlich gute ROS Treiberunterstützung</a:t>
            </a:r>
          </a:p>
          <a:p>
            <a:pPr marL="1143000" lvl="1" indent="-457200"/>
            <a:r>
              <a:rPr lang="de-DE" dirty="0" smtClean="0"/>
              <a:t>TODO Treiber finden</a:t>
            </a:r>
          </a:p>
          <a:p>
            <a:pPr marL="1143000" lvl="1" indent="-457200"/>
            <a:endParaRPr lang="de-DE" dirty="0" smtClean="0"/>
          </a:p>
          <a:p>
            <a:pPr marL="457200" indent="-457200"/>
            <a:r>
              <a:rPr lang="de-DE" dirty="0" err="1" smtClean="0"/>
              <a:t>Inertial</a:t>
            </a:r>
            <a:r>
              <a:rPr lang="de-DE" dirty="0" smtClean="0"/>
              <a:t> Measurement Unit (IMU) für Lageerkennung</a:t>
            </a:r>
          </a:p>
          <a:p>
            <a:pPr marL="1143000" lvl="1" indent="-457200"/>
            <a:r>
              <a:rPr lang="de-DE" dirty="0" err="1" smtClean="0"/>
              <a:t>Sparkfun</a:t>
            </a:r>
            <a:r>
              <a:rPr lang="de-DE" dirty="0" smtClean="0"/>
              <a:t> MPU9250 direkt an </a:t>
            </a:r>
            <a:r>
              <a:rPr lang="de-DE" dirty="0" err="1" smtClean="0"/>
              <a:t>Raspberry</a:t>
            </a:r>
            <a:r>
              <a:rPr lang="de-DE" dirty="0" smtClean="0"/>
              <a:t> PI I2C</a:t>
            </a:r>
          </a:p>
          <a:p>
            <a:pPr marL="1143000" lvl="1" indent="-457200"/>
            <a:r>
              <a:rPr lang="de-DE" dirty="0" smtClean="0"/>
              <a:t>9DoF (</a:t>
            </a:r>
            <a:r>
              <a:rPr lang="en-US" dirty="0" smtClean="0"/>
              <a:t>MPU-6500 </a:t>
            </a:r>
            <a:r>
              <a:rPr lang="en-US" dirty="0" err="1" smtClean="0"/>
              <a:t>Gyroskop</a:t>
            </a:r>
            <a:r>
              <a:rPr lang="en-US" dirty="0" smtClean="0"/>
              <a:t> + Accelerometer + AK8963 Magnetomet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51" t="17084" r="7916" b="13750"/>
          <a:stretch/>
        </p:blipFill>
        <p:spPr>
          <a:xfrm>
            <a:off x="9654540" y="4461358"/>
            <a:ext cx="1859280" cy="154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44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onstig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 smtClean="0"/>
              <a:t>XBOX </a:t>
            </a:r>
            <a:r>
              <a:rPr lang="de-DE" dirty="0" err="1" smtClean="0"/>
              <a:t>One</a:t>
            </a:r>
            <a:r>
              <a:rPr lang="de-DE" dirty="0" smtClean="0"/>
              <a:t> Controller</a:t>
            </a:r>
          </a:p>
          <a:p>
            <a:pPr marL="1143000" lvl="1" indent="-457200"/>
            <a:r>
              <a:rPr lang="de-DE" dirty="0" smtClean="0"/>
              <a:t>Manuelle Steuerung über Controller außerhalb vom </a:t>
            </a:r>
            <a:r>
              <a:rPr lang="de-DE" dirty="0" smtClean="0"/>
              <a:t>Fahrzeug</a:t>
            </a:r>
          </a:p>
          <a:p>
            <a:pPr marL="1143000" lvl="1" indent="-457200"/>
            <a:r>
              <a:rPr lang="de-DE" dirty="0" smtClean="0"/>
              <a:t>Selbstgeschriebener </a:t>
            </a:r>
            <a:r>
              <a:rPr lang="de-DE" dirty="0" err="1" smtClean="0"/>
              <a:t>Node</a:t>
            </a:r>
            <a:r>
              <a:rPr lang="de-DE" dirty="0" smtClean="0"/>
              <a:t> arbeitet mit jedem </a:t>
            </a:r>
            <a:r>
              <a:rPr lang="de-DE" dirty="0" err="1"/>
              <a:t>l</a:t>
            </a:r>
            <a:r>
              <a:rPr lang="de-DE" dirty="0" err="1" smtClean="0"/>
              <a:t>inuxkompatibelen</a:t>
            </a:r>
            <a:r>
              <a:rPr lang="de-DE" dirty="0" smtClean="0"/>
              <a:t> Gamecontroller zusammen. </a:t>
            </a:r>
            <a:endParaRPr lang="de-DE" dirty="0"/>
          </a:p>
          <a:p>
            <a:pPr marL="457200" indent="-457200"/>
            <a:r>
              <a:rPr lang="de-DE" dirty="0" smtClean="0"/>
              <a:t>Joystick (KY-023 Joystickmodul)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Manuelle Steuerung des Fahrzeugs an der </a:t>
            </a:r>
            <a:r>
              <a:rPr lang="de-DE" dirty="0" smtClean="0"/>
              <a:t>Lenkstange</a:t>
            </a:r>
          </a:p>
          <a:p>
            <a:pPr marL="1143000" lvl="1" indent="-457200"/>
            <a:r>
              <a:rPr lang="de-DE" dirty="0" smtClean="0"/>
              <a:t>Auslesen des Moduls über </a:t>
            </a:r>
            <a:r>
              <a:rPr lang="de-DE" dirty="0" err="1" smtClean="0"/>
              <a:t>Arduino</a:t>
            </a:r>
            <a:endParaRPr lang="de-DE" dirty="0"/>
          </a:p>
          <a:p>
            <a:pPr marL="1143000" lvl="1" indent="-457200"/>
            <a:r>
              <a:rPr lang="de-DE" dirty="0" smtClean="0"/>
              <a:t>Senden der Sensordaten über USB UART und </a:t>
            </a:r>
          </a:p>
          <a:p>
            <a:pPr lvl="1" indent="0">
              <a:buNone/>
            </a:pPr>
            <a:r>
              <a:rPr lang="de-DE" dirty="0"/>
              <a:t>	 </a:t>
            </a:r>
            <a:r>
              <a:rPr lang="de-DE" dirty="0" smtClean="0"/>
              <a:t>   eigenes Protokoll 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5380" y="3198504"/>
            <a:ext cx="3154680" cy="31546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748" y="4401294"/>
            <a:ext cx="2157671" cy="150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40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</a:t>
            </a:r>
            <a:r>
              <a:rPr lang="en-US" sz="2400" dirty="0" smtClean="0"/>
              <a:t>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 smtClean="0"/>
              <a:t>: </a:t>
            </a:r>
            <a:r>
              <a:rPr lang="en-US" sz="2400" dirty="0" err="1" smtClean="0"/>
              <a:t>Wie</a:t>
            </a:r>
            <a:r>
              <a:rPr lang="en-US" sz="2400" dirty="0" smtClean="0"/>
              <a:t> </a:t>
            </a:r>
            <a:r>
              <a:rPr lang="en-US" sz="2400" dirty="0" err="1" smtClean="0"/>
              <a:t>geht</a:t>
            </a:r>
            <a:r>
              <a:rPr lang="en-US" sz="2400" dirty="0" smtClean="0"/>
              <a:t> </a:t>
            </a:r>
            <a:r>
              <a:rPr lang="en-US" sz="2400" dirty="0" err="1" smtClean="0"/>
              <a:t>es</a:t>
            </a:r>
            <a:r>
              <a:rPr lang="en-US" sz="2400" dirty="0" smtClean="0"/>
              <a:t> </a:t>
            </a:r>
            <a:r>
              <a:rPr lang="en-US" sz="2400" dirty="0" err="1" smtClean="0"/>
              <a:t>weiter</a:t>
            </a:r>
            <a:r>
              <a:rPr lang="en-US" sz="2400" dirty="0" smtClean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980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</a:t>
            </a:r>
            <a:r>
              <a:rPr lang="en-US" sz="2400" b="1" dirty="0" smtClean="0"/>
              <a:t>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b="1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789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21844" y="954504"/>
            <a:ext cx="10515600" cy="6715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748438" y="3985449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box </a:t>
            </a:r>
            <a:r>
              <a:rPr lang="de-DE" dirty="0" err="1" smtClean="0"/>
              <a:t>One</a:t>
            </a:r>
            <a:r>
              <a:rPr lang="de-DE" dirty="0" smtClean="0"/>
              <a:t> Controller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9101981" y="3221497"/>
            <a:ext cx="1485900" cy="8763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overboard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748438" y="2454343"/>
            <a:ext cx="1485900" cy="413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8Q GP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748438" y="2963699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PLidar</a:t>
            </a:r>
            <a:r>
              <a:rPr lang="de-DE" dirty="0" smtClean="0"/>
              <a:t> A1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748438" y="3474574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PU9250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748438" y="4946516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Ultraschall Array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4957360" y="3425620"/>
            <a:ext cx="1773782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 3B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748438" y="1813279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Joystick</a:t>
            </a:r>
            <a:endParaRPr lang="de-DE" dirty="0"/>
          </a:p>
        </p:txBody>
      </p:sp>
      <p:cxnSp>
        <p:nvCxnSpPr>
          <p:cNvPr id="15" name="Gerader Verbinder 14"/>
          <p:cNvCxnSpPr/>
          <p:nvPr/>
        </p:nvCxnSpPr>
        <p:spPr>
          <a:xfrm>
            <a:off x="6731142" y="3820243"/>
            <a:ext cx="2370839" cy="2447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 flipV="1">
            <a:off x="6750688" y="3497184"/>
            <a:ext cx="2351293" cy="1528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endCxn id="8" idx="3"/>
          </p:cNvCxnSpPr>
          <p:nvPr/>
        </p:nvCxnSpPr>
        <p:spPr>
          <a:xfrm flipH="1" flipV="1">
            <a:off x="2234338" y="2661269"/>
            <a:ext cx="2723022" cy="97390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stCxn id="12" idx="1"/>
            <a:endCxn id="53" idx="2"/>
          </p:cNvCxnSpPr>
          <p:nvPr/>
        </p:nvCxnSpPr>
        <p:spPr>
          <a:xfrm flipH="1" flipV="1">
            <a:off x="4444768" y="2236521"/>
            <a:ext cx="512592" cy="13986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12" idx="1"/>
            <a:endCxn id="9" idx="3"/>
          </p:cNvCxnSpPr>
          <p:nvPr/>
        </p:nvCxnSpPr>
        <p:spPr>
          <a:xfrm flipH="1" flipV="1">
            <a:off x="2234338" y="3173249"/>
            <a:ext cx="2723022" cy="46192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12" idx="1"/>
            <a:endCxn id="10" idx="3"/>
          </p:cNvCxnSpPr>
          <p:nvPr/>
        </p:nvCxnSpPr>
        <p:spPr>
          <a:xfrm flipH="1">
            <a:off x="2234338" y="3635170"/>
            <a:ext cx="2723022" cy="4895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67" idx="1"/>
            <a:endCxn id="11" idx="3"/>
          </p:cNvCxnSpPr>
          <p:nvPr/>
        </p:nvCxnSpPr>
        <p:spPr>
          <a:xfrm flipH="1" flipV="1">
            <a:off x="2234338" y="5384666"/>
            <a:ext cx="1467480" cy="187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12" idx="1"/>
            <a:endCxn id="6" idx="3"/>
          </p:cNvCxnSpPr>
          <p:nvPr/>
        </p:nvCxnSpPr>
        <p:spPr>
          <a:xfrm flipH="1">
            <a:off x="2234338" y="3635170"/>
            <a:ext cx="2723022" cy="78842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6750688" y="3154028"/>
            <a:ext cx="1741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 (Diagnose)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6750688" y="3855659"/>
            <a:ext cx="1995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USB UART (Ansteuerung)</a:t>
            </a:r>
            <a:endParaRPr lang="de-DE" sz="1400" dirty="0"/>
          </a:p>
        </p:txBody>
      </p:sp>
      <p:sp>
        <p:nvSpPr>
          <p:cNvPr id="44" name="Textfeld 43"/>
          <p:cNvSpPr txBox="1"/>
          <p:nvPr/>
        </p:nvSpPr>
        <p:spPr>
          <a:xfrm>
            <a:off x="2191666" y="2370167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2171822" y="4066430"/>
            <a:ext cx="479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</a:t>
            </a:r>
            <a:endParaRPr lang="de-DE" sz="1400" dirty="0"/>
          </a:p>
        </p:txBody>
      </p:sp>
      <p:sp>
        <p:nvSpPr>
          <p:cNvPr id="46" name="Textfeld 45"/>
          <p:cNvSpPr txBox="1"/>
          <p:nvPr/>
        </p:nvSpPr>
        <p:spPr>
          <a:xfrm>
            <a:off x="2234338" y="3392578"/>
            <a:ext cx="4171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I2C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162229" y="2896833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3701818" y="1817421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4554441" y="2334392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cxnSp>
        <p:nvCxnSpPr>
          <p:cNvPr id="57" name="Gerader Verbinder 56"/>
          <p:cNvCxnSpPr>
            <a:stCxn id="53" idx="1"/>
            <a:endCxn id="13" idx="3"/>
          </p:cNvCxnSpPr>
          <p:nvPr/>
        </p:nvCxnSpPr>
        <p:spPr>
          <a:xfrm flipH="1" flipV="1">
            <a:off x="2234338" y="2022829"/>
            <a:ext cx="1467480" cy="414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221797" y="1695342"/>
            <a:ext cx="14800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Analoge Eingänge</a:t>
            </a:r>
            <a:endParaRPr lang="de-DE" sz="1400" dirty="0"/>
          </a:p>
        </p:txBody>
      </p:sp>
      <p:sp>
        <p:nvSpPr>
          <p:cNvPr id="67" name="Rechteck 66"/>
          <p:cNvSpPr/>
          <p:nvPr/>
        </p:nvSpPr>
        <p:spPr>
          <a:xfrm>
            <a:off x="3701818" y="5193857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cxnSp>
        <p:nvCxnSpPr>
          <p:cNvPr id="68" name="Gerader Verbinder 67"/>
          <p:cNvCxnSpPr>
            <a:stCxn id="12" idx="1"/>
            <a:endCxn id="67" idx="0"/>
          </p:cNvCxnSpPr>
          <p:nvPr/>
        </p:nvCxnSpPr>
        <p:spPr>
          <a:xfrm flipH="1">
            <a:off x="4444768" y="3635170"/>
            <a:ext cx="512592" cy="155868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>
          <a:xfrm>
            <a:off x="4626504" y="4531169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2234338" y="5080099"/>
            <a:ext cx="1440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Digitale Eingäng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14343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</a:t>
            </a:r>
            <a:r>
              <a:rPr lang="en-US" sz="2400" b="1" dirty="0" smtClean="0"/>
              <a:t>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Softwareauswahl</a:t>
            </a:r>
            <a:endParaRPr lang="en-US" sz="2000" b="1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75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uswah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Requirement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Modularer, flexibler Aufbau</a:t>
            </a:r>
          </a:p>
          <a:p>
            <a:pPr lvl="1"/>
            <a:r>
              <a:rPr lang="de-DE" dirty="0" smtClean="0"/>
              <a:t>Echtzeitfähige Kommunikation</a:t>
            </a:r>
          </a:p>
          <a:p>
            <a:pPr lvl="1"/>
            <a:r>
              <a:rPr lang="de-DE" dirty="0" smtClean="0"/>
              <a:t>Möglichst existierendes Framework mit vielen existierenden Tools und Treibern nutzen</a:t>
            </a:r>
          </a:p>
          <a:p>
            <a:endParaRPr lang="de-DE" dirty="0"/>
          </a:p>
          <a:p>
            <a:r>
              <a:rPr lang="de-DE" dirty="0" smtClean="0"/>
              <a:t>-&gt; ROS2, zum Start der Arbeit aktuelle Version Crystal bringt Basisfunktionalität und mit ROS1 Bridge Rückwärtskompatibilität</a:t>
            </a:r>
          </a:p>
          <a:p>
            <a:pPr marL="1143000" lvl="1" indent="-457200"/>
            <a:r>
              <a:rPr lang="de-DE" dirty="0" err="1" smtClean="0"/>
              <a:t>Publish</a:t>
            </a:r>
            <a:r>
              <a:rPr lang="de-DE" dirty="0" smtClean="0"/>
              <a:t> / </a:t>
            </a:r>
            <a:r>
              <a:rPr lang="de-DE" dirty="0" err="1" smtClean="0"/>
              <a:t>Subscribe</a:t>
            </a:r>
            <a:r>
              <a:rPr lang="de-DE" dirty="0" smtClean="0"/>
              <a:t> Nachrichtenstruktur als Basis für Kommunikation</a:t>
            </a:r>
          </a:p>
          <a:p>
            <a:pPr marL="1143000" lvl="1" indent="-457200"/>
            <a:r>
              <a:rPr lang="de-DE" dirty="0" smtClean="0"/>
              <a:t>Große Community</a:t>
            </a:r>
          </a:p>
          <a:p>
            <a:pPr marL="1143000" lvl="1" indent="-457200"/>
            <a:r>
              <a:rPr lang="de-DE" dirty="0" smtClean="0"/>
              <a:t>Noch nicht viele Funktionen Implementiert, wird aber stark weiterentwickel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715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</a:t>
            </a:r>
            <a:r>
              <a:rPr lang="en-US" sz="2400" b="1" dirty="0" smtClean="0"/>
              <a:t>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b="1" dirty="0" err="1" smtClean="0"/>
              <a:t>Softwarearchitektur</a:t>
            </a:r>
            <a:endParaRPr lang="en-US" sz="2000" b="1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18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oftwarearchitektur</a:t>
            </a:r>
            <a:r>
              <a:rPr lang="en-US" dirty="0" smtClean="0"/>
              <a:t> TODO GP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5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076432"/>
            <a:ext cx="10450286" cy="485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9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</a:t>
            </a:r>
            <a:r>
              <a:rPr lang="en-US" sz="2400" b="1" dirty="0" smtClean="0"/>
              <a:t>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Mechanischer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Aufbau</a:t>
            </a:r>
            <a:endParaRPr lang="en-US" sz="2000" b="1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65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scher Aufbau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TODO: </a:t>
            </a:r>
            <a:r>
              <a:rPr lang="de-DE" dirty="0" err="1" smtClean="0"/>
              <a:t>Render</a:t>
            </a:r>
            <a:r>
              <a:rPr lang="de-DE" dirty="0" smtClean="0"/>
              <a:t> Fertiges Mode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756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</a:t>
            </a:r>
            <a:r>
              <a:rPr lang="en-US" sz="2400" dirty="0" smtClean="0"/>
              <a:t>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b="1" dirty="0" err="1" smtClean="0"/>
              <a:t>Fazit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Ausblick</a:t>
            </a:r>
            <a:r>
              <a:rPr lang="en-US" sz="2400" b="1" dirty="0" smtClean="0"/>
              <a:t>: </a:t>
            </a:r>
            <a:r>
              <a:rPr lang="en-US" sz="2400" b="1" dirty="0" err="1" smtClean="0"/>
              <a:t>Wi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geht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weiter</a:t>
            </a:r>
            <a:r>
              <a:rPr lang="en-US" sz="2400" b="1" dirty="0" smtClean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6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 – Was wurde erfüllt? TODO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/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Flexible Plattform zur Evaluation v. </a:t>
            </a:r>
            <a:r>
              <a:rPr lang="de-DE" sz="3200" dirty="0" err="1" smtClean="0"/>
              <a:t>Sensork</a:t>
            </a:r>
            <a:r>
              <a:rPr lang="de-DE" sz="3200" dirty="0" smtClean="0"/>
              <a:t> und </a:t>
            </a:r>
            <a:r>
              <a:rPr lang="de-DE" sz="3200" dirty="0" err="1" smtClean="0"/>
              <a:t>Aktuatorik</a:t>
            </a:r>
            <a:endParaRPr lang="de-DE" sz="3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te eine Person befördern könn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Reichweite 10-20k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triebsart nah an End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 mit kleineren Unebenheiten im Bod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Keine Kartendaten für Navigation voraus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25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err="1" smtClean="0"/>
              <a:t>Aufgabenstellung</a:t>
            </a:r>
            <a:endParaRPr lang="en-US" sz="2400" b="1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</a:t>
            </a:r>
            <a:r>
              <a:rPr lang="en-US" sz="2400" dirty="0" smtClean="0"/>
              <a:t>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1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blick: Wie geht es weiter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Ziel nicht ganz erreicht, noch kein Mapping </a:t>
            </a:r>
            <a:r>
              <a:rPr lang="de-DE" sz="2400" dirty="0" err="1" smtClean="0"/>
              <a:t>bzw</a:t>
            </a:r>
            <a:r>
              <a:rPr lang="de-DE" sz="2400" dirty="0" smtClean="0"/>
              <a:t> Navigation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Warum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ROS2 steckt noch in den Kinderschuhen</a:t>
            </a:r>
          </a:p>
          <a:p>
            <a:pPr marL="1143000" lvl="1" indent="-457200"/>
            <a:r>
              <a:rPr lang="de-DE" dirty="0" smtClean="0"/>
              <a:t>Viele Features ändern sich regelmäßig und sind nicht / falsch dokumentiert</a:t>
            </a:r>
          </a:p>
          <a:p>
            <a:pPr marL="1143000" lvl="1" indent="-457200"/>
            <a:r>
              <a:rPr lang="de-DE" dirty="0" smtClean="0"/>
              <a:t>Viele ROS1 Tools und Pakete noch nicht portie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bwarten, bis SLAM und </a:t>
            </a:r>
            <a:r>
              <a:rPr lang="de-DE" sz="2400" dirty="0" err="1" smtClean="0"/>
              <a:t>rviz</a:t>
            </a:r>
            <a:r>
              <a:rPr lang="de-DE" sz="2400" dirty="0" smtClean="0"/>
              <a:t> vollständig auf ROS2 portiert und dokumentiert sind. 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err="1" smtClean="0"/>
              <a:t>Notstopp</a:t>
            </a:r>
            <a:r>
              <a:rPr lang="de-DE" sz="2400" dirty="0" smtClean="0"/>
              <a:t> an Lenkstange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nschließend ist </a:t>
            </a:r>
            <a:r>
              <a:rPr lang="de-DE" sz="2400" dirty="0" err="1" smtClean="0"/>
              <a:t>Scoomatic</a:t>
            </a:r>
            <a:r>
              <a:rPr lang="de-DE" sz="2400" dirty="0" smtClean="0"/>
              <a:t> v1 als Experimentierplattform für Sensorevaluation, Sensorfusion, Mapping, Navigation etc. Einsatzbereit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573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1"/>
            </p:custDataLst>
          </p:nvPr>
        </p:nvSpPr>
        <p:spPr bwMode="auto">
          <a:xfrm>
            <a:off x="1301809" y="2554352"/>
            <a:ext cx="7100241" cy="399013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menübersich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2"/>
            </p:custDataLst>
          </p:nvPr>
        </p:nvSpPr>
        <p:spPr bwMode="auto">
          <a:xfrm>
            <a:off x="1301809" y="2014104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b="1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Modellbildung elektrischer Maschinen</a:t>
            </a: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2014104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3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6" name="Rechteck 15">
            <a:hlinkClick r:id="" action="ppaction://noaction"/>
          </p:cNvPr>
          <p:cNvSpPr/>
          <p:nvPr>
            <p:custDataLst>
              <p:tags r:id="rId4"/>
            </p:custDataLst>
          </p:nvPr>
        </p:nvSpPr>
        <p:spPr bwMode="auto">
          <a:xfrm>
            <a:off x="1708641" y="255431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b="1" dirty="0" smtClean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Orientierung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5"/>
            </p:custDataLst>
          </p:nvPr>
        </p:nvSpPr>
        <p:spPr bwMode="auto">
          <a:xfrm>
            <a:off x="1243899" y="25543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a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auto">
          <a:xfrm>
            <a:off x="1703051" y="3019607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dirty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Elektromechanische Energiewandlung</a:t>
            </a:r>
          </a:p>
          <a:p>
            <a:pPr eaLnBrk="0" fontAlgn="base" hangingPunct="0"/>
            <a:endParaRPr lang="de-DE" sz="1600" dirty="0">
              <a:solidFill>
                <a:schemeClr val="tx1">
                  <a:lumMod val="100000"/>
                </a:schemeClr>
              </a:solidFill>
              <a:ea typeface="ＭＳ Ｐゴシック" pitchFamily="1" charset="-128"/>
            </a:endParaRP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auto">
          <a:xfrm>
            <a:off x="1238309" y="3019607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b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auto">
          <a:xfrm>
            <a:off x="1708641" y="348359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Bauformen und Funktionsweise</a:t>
            </a: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auto">
          <a:xfrm>
            <a:off x="1238308" y="34835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c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3" name="Rechteck 12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auto">
          <a:xfrm>
            <a:off x="1703051" y="3947579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Grundgleichungen der Dynamik</a:t>
            </a:r>
          </a:p>
        </p:txBody>
      </p:sp>
      <p:sp>
        <p:nvSpPr>
          <p:cNvPr id="14" name="Rechteck 13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 bwMode="auto">
          <a:xfrm>
            <a:off x="1232718" y="3947579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d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685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ldquell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3048000" y="2967335"/>
            <a:ext cx="6096000" cy="757130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www.cyberport.de/haushalt/bodenpflege-reiniger/roborock/pdp/ha26-001/roborock-s5-sweep-one-staubsauger-roboter-weiss.html</a:t>
            </a:r>
            <a:endParaRPr lang="de-DE" dirty="0" smtClean="0"/>
          </a:p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www.mytoys.de/e-balance-hoverboard-robway-w1-65-zoll-mit-app-funktion-weiss-8346256.html</a:t>
            </a:r>
            <a:endParaRPr lang="de-DE" dirty="0" smtClean="0"/>
          </a:p>
          <a:p>
            <a:r>
              <a:rPr lang="de-DE" dirty="0">
                <a:hlinkClick r:id="rId4"/>
              </a:rPr>
              <a:t>https://www.raspberrypi.org/products/raspberry-pi-3-model-b</a:t>
            </a:r>
            <a:r>
              <a:rPr lang="de-DE" dirty="0" smtClean="0">
                <a:hlinkClick r:id="rId4"/>
              </a:rPr>
              <a:t>/</a:t>
            </a:r>
            <a:endParaRPr lang="de-DE" dirty="0" smtClean="0"/>
          </a:p>
          <a:p>
            <a:r>
              <a:rPr lang="de-DE" dirty="0">
                <a:hlinkClick r:id="rId5"/>
              </a:rPr>
              <a:t>http://</a:t>
            </a:r>
            <a:r>
              <a:rPr lang="de-DE" dirty="0" smtClean="0">
                <a:hlinkClick r:id="rId5"/>
              </a:rPr>
              <a:t>www.loomo.com/en/spec.html</a:t>
            </a:r>
            <a:endParaRPr lang="de-DE" dirty="0" smtClean="0"/>
          </a:p>
          <a:p>
            <a:endParaRPr lang="de-DE" dirty="0"/>
          </a:p>
          <a:p>
            <a:r>
              <a:rPr lang="de-DE" dirty="0">
                <a:hlinkClick r:id="rId6"/>
              </a:rPr>
              <a:t>https://shop.segway.com/de-de/92/-</a:t>
            </a:r>
            <a:r>
              <a:rPr lang="de-DE" dirty="0" smtClean="0">
                <a:hlinkClick r:id="rId6"/>
              </a:rPr>
              <a:t>segway-loomo</a:t>
            </a:r>
            <a:endParaRPr lang="de-DE" dirty="0" smtClean="0"/>
          </a:p>
          <a:p>
            <a:r>
              <a:rPr lang="de-DE" dirty="0">
                <a:hlinkClick r:id="rId7"/>
              </a:rPr>
              <a:t>https://</a:t>
            </a:r>
            <a:r>
              <a:rPr lang="de-DE" dirty="0" smtClean="0">
                <a:hlinkClick r:id="rId7"/>
              </a:rPr>
              <a:t>www.dhgate.com/product/dual-axis-xy-joystick-module-ps2-joystick/396788269.html</a:t>
            </a:r>
            <a:endParaRPr lang="de-DE" dirty="0" smtClean="0"/>
          </a:p>
          <a:p>
            <a:r>
              <a:rPr lang="de-DE" dirty="0">
                <a:hlinkClick r:id="rId8"/>
              </a:rPr>
              <a:t>https://</a:t>
            </a:r>
            <a:r>
              <a:rPr lang="de-DE" dirty="0" smtClean="0">
                <a:hlinkClick r:id="rId8"/>
              </a:rPr>
              <a:t>www.mifcom.de/microsoft-xbox-one-controller-inkl-wireless-adapter-id6996</a:t>
            </a:r>
            <a:endParaRPr lang="de-DE" dirty="0" smtClean="0"/>
          </a:p>
          <a:p>
            <a:endParaRPr lang="de-DE" dirty="0"/>
          </a:p>
          <a:p>
            <a:r>
              <a:rPr lang="de-DE" dirty="0">
                <a:hlinkClick r:id="rId9"/>
              </a:rPr>
              <a:t>https://platis.solutions/blog/2017/08/27/sonicdisc-360-ultrasonic-scanner</a:t>
            </a:r>
            <a:r>
              <a:rPr lang="de-DE" dirty="0" smtClean="0">
                <a:hlinkClick r:id="rId9"/>
              </a:rPr>
              <a:t>/</a:t>
            </a:r>
            <a:endParaRPr lang="de-DE" dirty="0" smtClean="0"/>
          </a:p>
          <a:p>
            <a:r>
              <a:rPr lang="de-DE" dirty="0">
                <a:hlinkClick r:id="rId10"/>
              </a:rPr>
              <a:t>https://</a:t>
            </a:r>
            <a:r>
              <a:rPr lang="de-DE" dirty="0" smtClean="0">
                <a:hlinkClick r:id="rId10"/>
              </a:rPr>
              <a:t>www.robotshop.com/de/de/rplidar-a1m8-360-grad-laserscanner-entwicklungskit.html</a:t>
            </a:r>
            <a:endParaRPr lang="de-DE" dirty="0" smtClean="0"/>
          </a:p>
          <a:p>
            <a:endParaRPr lang="de-DE" dirty="0"/>
          </a:p>
          <a:p>
            <a:r>
              <a:rPr lang="de-DE" dirty="0">
                <a:hlinkClick r:id="rId11"/>
              </a:rPr>
              <a:t>https://</a:t>
            </a:r>
            <a:r>
              <a:rPr lang="de-DE" dirty="0" smtClean="0">
                <a:hlinkClick r:id="rId11"/>
              </a:rPr>
              <a:t>www.sparkfun.com/products/13762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96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</p:spPr>
        <p:txBody>
          <a:bodyPr/>
          <a:lstStyle/>
          <a:p>
            <a:r>
              <a:rPr lang="de-DE" sz="3600" dirty="0" smtClean="0"/>
              <a:t>-Vorstellung des </a:t>
            </a:r>
            <a:r>
              <a:rPr lang="de-DE" sz="3600" dirty="0" err="1" smtClean="0"/>
              <a:t>Scoomatic</a:t>
            </a:r>
            <a:r>
              <a:rPr lang="de-DE" sz="3600" dirty="0" smtClean="0"/>
              <a:t> Projek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Elektrofahrzeug, dass Personen hilft, die letzte Meile zu bewälti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ösen der zur falschen Zeit am falschen Ort Problematik</a:t>
            </a:r>
          </a:p>
          <a:p>
            <a:pPr marL="1143000" lvl="1" indent="-457200"/>
            <a:r>
              <a:rPr lang="de-DE" sz="3200" dirty="0" smtClean="0"/>
              <a:t>Autonome Navigation von und zu Sammelstationen</a:t>
            </a:r>
          </a:p>
          <a:p>
            <a:pPr marL="1143000" lvl="1" indent="-457200"/>
            <a:r>
              <a:rPr lang="de-DE" sz="3200" dirty="0" smtClean="0"/>
              <a:t>Möglichkeit der Anforderung durch App / etc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Prototypenentwicklung </a:t>
            </a:r>
            <a:r>
              <a:rPr lang="de-DE" sz="3600" dirty="0" smtClean="0"/>
              <a:t>in mehreren Iterationen </a:t>
            </a:r>
          </a:p>
          <a:p>
            <a:pPr marL="1143000" lvl="1" indent="-457200"/>
            <a:r>
              <a:rPr lang="de-DE" sz="3200" dirty="0" smtClean="0"/>
              <a:t>Erste Iteration wird hier vorgestell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600" dirty="0" smtClean="0"/>
          </a:p>
          <a:p>
            <a:pPr marL="457200" indent="-457200"/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40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/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Flexible Plattform zur Evaluation v. </a:t>
            </a:r>
            <a:r>
              <a:rPr lang="de-DE" sz="3200" dirty="0" err="1" smtClean="0"/>
              <a:t>Sensork</a:t>
            </a:r>
            <a:r>
              <a:rPr lang="de-DE" sz="3200" dirty="0" smtClean="0"/>
              <a:t> und </a:t>
            </a:r>
            <a:r>
              <a:rPr lang="de-DE" sz="3200" dirty="0" err="1" smtClean="0"/>
              <a:t>Aktuatorik</a:t>
            </a:r>
            <a:endParaRPr lang="de-DE" sz="3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te eine Person befördern könn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Reichweite 10-20k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triebsart nah an End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 mit kleineren Unebenheiten im Bod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Keine Kartendaten für Navigation voraus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91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</a:t>
            </a:r>
            <a:r>
              <a:rPr lang="en-US" sz="2400" dirty="0" smtClean="0"/>
              <a:t>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807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b="1" dirty="0" err="1" smtClean="0"/>
              <a:t>Autonome</a:t>
            </a:r>
            <a:r>
              <a:rPr lang="en-US" sz="2000" b="1" dirty="0" smtClean="0"/>
              <a:t> </a:t>
            </a:r>
            <a:r>
              <a:rPr lang="en-US" sz="2000" b="1" dirty="0"/>
              <a:t>Navigation in </a:t>
            </a:r>
            <a:r>
              <a:rPr lang="en-US" sz="2000" b="1" dirty="0" err="1"/>
              <a:t>Kraftfahrzeugen</a:t>
            </a:r>
            <a:endParaRPr lang="en-US" sz="2000" b="1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</a:t>
            </a:r>
            <a:r>
              <a:rPr lang="en-US" sz="2400" dirty="0" smtClean="0"/>
              <a:t>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95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dirty="0" smtClean="0"/>
              <a:t>-</a:t>
            </a:r>
            <a:r>
              <a:rPr lang="de-DE" sz="2400" dirty="0" smtClean="0"/>
              <a:t> </a:t>
            </a:r>
            <a:r>
              <a:rPr lang="de-DE" sz="2400" dirty="0" err="1" smtClean="0"/>
              <a:t>Autoware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Framework für autonome Fahrzeuge in </a:t>
            </a:r>
            <a:r>
              <a:rPr lang="de-DE" sz="2400" dirty="0" err="1" smtClean="0"/>
              <a:t>urbenen</a:t>
            </a:r>
            <a:r>
              <a:rPr lang="de-DE" sz="2400" dirty="0" smtClean="0"/>
              <a:t> Umgebun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EVA(Eingabe, Verarbeitung, Ausgabe)-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LAM </a:t>
            </a:r>
            <a:r>
              <a:rPr lang="de-DE" sz="2400" dirty="0"/>
              <a:t>(</a:t>
            </a:r>
            <a:r>
              <a:rPr lang="de-DE" sz="2400" dirty="0" err="1"/>
              <a:t>Simultaneous</a:t>
            </a:r>
            <a:r>
              <a:rPr lang="de-DE" sz="2400" dirty="0"/>
              <a:t> </a:t>
            </a:r>
            <a:r>
              <a:rPr lang="de-DE" sz="2400" dirty="0" err="1"/>
              <a:t>Localization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Mapping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ensorfusion</a:t>
            </a:r>
            <a:r>
              <a:rPr lang="de-DE" sz="2400" dirty="0"/>
              <a:t> 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ROS2 </a:t>
            </a:r>
            <a:r>
              <a:rPr lang="de-DE" sz="2400" dirty="0"/>
              <a:t>Basiert -&gt; Modular aufgeba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utoware.AI</a:t>
            </a:r>
          </a:p>
          <a:p>
            <a:pPr marL="1143000" lvl="1" indent="-457200"/>
            <a:r>
              <a:rPr lang="de-DE" sz="2000" dirty="0" smtClean="0"/>
              <a:t>ROS1 Basierte Forschungsplattform</a:t>
            </a:r>
            <a:endParaRPr lang="de-DE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err="1" smtClean="0"/>
              <a:t>Autoware.auto</a:t>
            </a:r>
            <a:endParaRPr lang="de-DE" sz="2400" dirty="0" smtClean="0"/>
          </a:p>
          <a:p>
            <a:pPr marL="1143000" lvl="1" indent="-457200"/>
            <a:r>
              <a:rPr lang="de-DE" sz="2000" dirty="0" smtClean="0"/>
              <a:t>ROS2 </a:t>
            </a:r>
            <a:r>
              <a:rPr lang="de-DE" sz="2000" dirty="0" err="1" smtClean="0"/>
              <a:t>Rewrite</a:t>
            </a:r>
            <a:r>
              <a:rPr lang="de-DE" sz="2000" dirty="0" smtClean="0"/>
              <a:t> mit „sauberen“ Code</a:t>
            </a:r>
          </a:p>
          <a:p>
            <a:pPr marL="1143000" lvl="1" indent="-457200"/>
            <a:r>
              <a:rPr lang="de-DE" sz="2000" dirty="0" smtClean="0"/>
              <a:t>Durch </a:t>
            </a:r>
            <a:r>
              <a:rPr lang="de-DE" sz="2000" dirty="0" err="1" smtClean="0"/>
              <a:t>echtzeitfähigkeit</a:t>
            </a:r>
            <a:r>
              <a:rPr lang="de-DE" sz="2000" dirty="0" smtClean="0"/>
              <a:t> von ROS2 besser für Produktiveinsatz</a:t>
            </a:r>
          </a:p>
          <a:p>
            <a:pPr marL="1143000" lvl="1" indent="-457200"/>
            <a:r>
              <a:rPr lang="de-DE" sz="2000" dirty="0" smtClean="0"/>
              <a:t>Noch nicht vollständig implementiert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198" y="2696544"/>
            <a:ext cx="4774995" cy="2581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7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Elem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Topic"/>
  <p:tag name="EE4P_AGENDAWIZARD_CONTENT" val="/Einführung &amp; Grundbegriffe"/>
  <p:tag name="EE4P_AGENDAWIZARD_PROPERTIES" val="67.62968/133.875/329.436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ItemNo"/>
  <p:tag name="EE4P_AGENDAWIZARD_CONTENT" val="/1"/>
  <p:tag name="EE4P_AGENDAWIZARD_PROPERTIES" val="31.12504/133.87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">
  <a:themeElements>
    <a:clrScheme name="IngInf">
      <a:dk1>
        <a:sysClr val="windowText" lastClr="000000"/>
      </a:dk1>
      <a:lt1>
        <a:sysClr val="window" lastClr="FFFFFF"/>
      </a:lt1>
      <a:dk2>
        <a:srgbClr val="489324"/>
      </a:dk2>
      <a:lt2>
        <a:srgbClr val="808080"/>
      </a:lt2>
      <a:accent1>
        <a:srgbClr val="489324"/>
      </a:accent1>
      <a:accent2>
        <a:srgbClr val="EB690B"/>
      </a:accent2>
      <a:accent3>
        <a:srgbClr val="F6A800"/>
      </a:accent3>
      <a:accent4>
        <a:srgbClr val="00AECF"/>
      </a:accent4>
      <a:accent5>
        <a:srgbClr val="0087C1"/>
      </a:accent5>
      <a:accent6>
        <a:srgbClr val="C00000"/>
      </a:accent6>
      <a:hlink>
        <a:srgbClr val="00747A"/>
      </a:hlink>
      <a:folHlink>
        <a:srgbClr val="78B6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53</Words>
  <Application>Microsoft Office PowerPoint</Application>
  <PresentationFormat>Breitbild</PresentationFormat>
  <Paragraphs>495</Paragraphs>
  <Slides>42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2</vt:i4>
      </vt:variant>
    </vt:vector>
  </HeadingPairs>
  <TitlesOfParts>
    <vt:vector size="48" baseType="lpstr">
      <vt:lpstr>ＭＳ Ｐゴシック</vt:lpstr>
      <vt:lpstr>Arial</vt:lpstr>
      <vt:lpstr>Calibri</vt:lpstr>
      <vt:lpstr>Calibri Light</vt:lpstr>
      <vt:lpstr>Wingdings</vt:lpstr>
      <vt:lpstr>Office</vt:lpstr>
      <vt:lpstr>Scoomatic</vt:lpstr>
      <vt:lpstr>Motivation</vt:lpstr>
      <vt:lpstr>Agenda</vt:lpstr>
      <vt:lpstr>Agenda</vt:lpstr>
      <vt:lpstr>Aufgabenstellung</vt:lpstr>
      <vt:lpstr>Aufgabenstellung</vt:lpstr>
      <vt:lpstr>Agenda</vt:lpstr>
      <vt:lpstr>Agenda</vt:lpstr>
      <vt:lpstr>Autonome Navigation in Kraftfahrzeugen </vt:lpstr>
      <vt:lpstr>Autonome Navigation in Kraftfahrzeugen </vt:lpstr>
      <vt:lpstr>Autonome Navigation in Kraftfahrzeugen </vt:lpstr>
      <vt:lpstr>Agenda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genda</vt:lpstr>
      <vt:lpstr>Autonome Navigation zu Hause </vt:lpstr>
      <vt:lpstr>Autonome Navigation zu Hause </vt:lpstr>
      <vt:lpstr>Agenda</vt:lpstr>
      <vt:lpstr>Agenda</vt:lpstr>
      <vt:lpstr>Hardwareauswahl: Antrieb</vt:lpstr>
      <vt:lpstr>Hardwareauswahl: Antrieb</vt:lpstr>
      <vt:lpstr>Hardwareauswahl: Antrieb</vt:lpstr>
      <vt:lpstr>Hardwareauswahl: Bordcomputer</vt:lpstr>
      <vt:lpstr>Hardwareauswahl: Sensorik</vt:lpstr>
      <vt:lpstr>Hardwareauswahl: Sensorik</vt:lpstr>
      <vt:lpstr>Hardwareauswahl: Sonstiges</vt:lpstr>
      <vt:lpstr>Agenda</vt:lpstr>
      <vt:lpstr>Hardwareaufbau</vt:lpstr>
      <vt:lpstr>Agenda</vt:lpstr>
      <vt:lpstr>Softwareauswahl</vt:lpstr>
      <vt:lpstr>Agenda</vt:lpstr>
      <vt:lpstr>Softwarearchitektur TODO GPS</vt:lpstr>
      <vt:lpstr>Agenda</vt:lpstr>
      <vt:lpstr>Mechanischer Aufbau</vt:lpstr>
      <vt:lpstr>Agenda</vt:lpstr>
      <vt:lpstr>Aufgabenstellung – Was wurde erfüllt? TODO</vt:lpstr>
      <vt:lpstr>Ausblick: Wie geht es weiter? </vt:lpstr>
      <vt:lpstr>Themenübersicht</vt:lpstr>
      <vt:lpstr>Bildquell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hatronik Übung</dc:title>
  <dc:creator>Lennart Luttkus</dc:creator>
  <cp:lastModifiedBy>Martin</cp:lastModifiedBy>
  <cp:revision>86</cp:revision>
  <dcterms:created xsi:type="dcterms:W3CDTF">2019-04-09T08:05:16Z</dcterms:created>
  <dcterms:modified xsi:type="dcterms:W3CDTF">2019-07-10T10:56:06Z</dcterms:modified>
</cp:coreProperties>
</file>